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2" r:id="rId4"/>
  </p:sldMasterIdLst>
  <p:notesMasterIdLst>
    <p:notesMasterId r:id="rId16"/>
  </p:notesMasterIdLst>
  <p:handoutMasterIdLst>
    <p:handoutMasterId r:id="rId17"/>
  </p:handoutMasterIdLst>
  <p:sldIdLst>
    <p:sldId id="259" r:id="rId5"/>
    <p:sldId id="1186" r:id="rId6"/>
    <p:sldId id="1225" r:id="rId7"/>
    <p:sldId id="1226" r:id="rId8"/>
    <p:sldId id="1187" r:id="rId9"/>
    <p:sldId id="1228" r:id="rId10"/>
    <p:sldId id="1230" r:id="rId11"/>
    <p:sldId id="1231" r:id="rId12"/>
    <p:sldId id="1229" r:id="rId13"/>
    <p:sldId id="1224" r:id="rId14"/>
    <p:sldId id="1216" r:id="rId15"/>
  </p:sldIdLst>
  <p:sldSz cx="9144000" cy="5143500" type="screen16x9"/>
  <p:notesSz cx="6858000" cy="9144000"/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riana Milena Acosta Forero" initials="AMAF" lastIdx="2" clrIdx="0">
    <p:extLst>
      <p:ext uri="{19B8F6BF-5375-455C-9EA6-DF929625EA0E}">
        <p15:presenceInfo xmlns:p15="http://schemas.microsoft.com/office/powerpoint/2012/main" userId="S-1-5-21-3051965652-3127979759-413745243-26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BFB"/>
    <a:srgbClr val="FFFF99"/>
    <a:srgbClr val="069169"/>
    <a:srgbClr val="2D6DF4"/>
    <a:srgbClr val="FF9900"/>
    <a:srgbClr val="0054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75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12686D-009B-4755-BF3C-B1645D0A938E}" type="datetimeFigureOut">
              <a:rPr lang="es-ES" smtClean="0"/>
              <a:t>24/08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DAE71F-6302-4695-A732-5DA60A1BF97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64184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06" y="685800"/>
            <a:ext cx="4572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7841708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495ef59f35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495ef59f35_0_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19262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7813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194962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97412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19496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875619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82890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 1 1 1" preserve="1" userDrawn="1">
  <p:cSld name="1_Diapositiva de título 1 1 1">
    <p:bg>
      <p:bgPr>
        <a:solidFill>
          <a:srgbClr val="069169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/>
          <p:nvPr/>
        </p:nvSpPr>
        <p:spPr>
          <a:xfrm>
            <a:off x="8336496" y="5464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1" name="Google Shape;31;p5"/>
          <p:cNvSpPr txBox="1"/>
          <p:nvPr userDrawn="1"/>
        </p:nvSpPr>
        <p:spPr>
          <a:xfrm>
            <a:off x="8336496" y="-21554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>
              <a:solidFill>
                <a:srgbClr val="FFFFFF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2" name="Google Shape;32;p5"/>
          <p:cNvSpPr/>
          <p:nvPr userDrawn="1"/>
        </p:nvSpPr>
        <p:spPr>
          <a:xfrm>
            <a:off x="3213694" y="0"/>
            <a:ext cx="5935223" cy="51435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5"/>
          <p:cNvSpPr txBox="1"/>
          <p:nvPr/>
        </p:nvSpPr>
        <p:spPr>
          <a:xfrm>
            <a:off x="1098468" y="4856142"/>
            <a:ext cx="4293000" cy="3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s-CO" sz="600" b="0" i="0" u="none" strike="noStrike" cap="none">
                <a:solidFill>
                  <a:schemeClr val="lt1"/>
                </a:solidFill>
                <a:latin typeface="Work Sans"/>
                <a:ea typeface="Work Sans"/>
                <a:cs typeface="Work Sans"/>
                <a:sym typeface="Work Sans"/>
              </a:rPr>
              <a:t>Esta presentación es propiedad intelectual controlada y producida por la Presidencia de la República.</a:t>
            </a:r>
            <a:endParaRPr sz="600" b="0" i="0" u="none" strike="noStrike" cap="none">
              <a:solidFill>
                <a:schemeClr val="lt1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3892" y="346605"/>
            <a:ext cx="2616953" cy="746654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9EBB03E-157E-1743-86F1-8874FFB41B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1004" y="1439863"/>
            <a:ext cx="5149596" cy="1349375"/>
          </a:xfrm>
        </p:spPr>
        <p:txBody>
          <a:bodyPr/>
          <a:lstStyle>
            <a:lvl1pPr marL="95250" indent="0" algn="r">
              <a:buNone/>
              <a:defRPr sz="3000">
                <a:solidFill>
                  <a:srgbClr val="0054BC"/>
                </a:solidFill>
              </a:defRPr>
            </a:lvl1pPr>
          </a:lstStyle>
          <a:p>
            <a:r>
              <a:rPr lang="es-ES"/>
              <a:t>Editar los estilos de texto del patrón</a:t>
            </a:r>
            <a:endParaRPr lang="es-CO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366" y="3771884"/>
            <a:ext cx="3904083" cy="732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114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">
  <p:cSld name="1_Título y texto">
    <p:bg>
      <p:bgPr>
        <a:solidFill>
          <a:srgbClr val="DCEAFB"/>
        </a:solid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9"/>
          <p:cNvSpPr txBox="1">
            <a:spLocks noGrp="1"/>
          </p:cNvSpPr>
          <p:nvPr>
            <p:ph type="body" idx="1"/>
          </p:nvPr>
        </p:nvSpPr>
        <p:spPr>
          <a:xfrm>
            <a:off x="3768286" y="2287388"/>
            <a:ext cx="4540639" cy="17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66CD"/>
              </a:buClr>
              <a:buSzPts val="1100"/>
              <a:buNone/>
              <a:defRPr sz="1100">
                <a:solidFill>
                  <a:srgbClr val="0066CD"/>
                </a:solidFill>
              </a:defRPr>
            </a:lvl1pPr>
            <a:lvl2pPr marL="914400" lvl="1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2pPr>
            <a:lvl3pPr marL="1371600" lvl="2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5pPr>
            <a:lvl6pPr marL="2743200" lvl="5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6pPr>
            <a:lvl7pPr marL="3200400" lvl="6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7pPr>
            <a:lvl8pPr marL="3657600" lvl="7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8pPr>
            <a:lvl9pPr marL="4114800" lvl="8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9pPr>
          </a:lstStyle>
          <a:p>
            <a:endParaRPr/>
          </a:p>
        </p:txBody>
      </p:sp>
      <p:sp>
        <p:nvSpPr>
          <p:cNvPr id="68" name="Google Shape;68;p9"/>
          <p:cNvSpPr txBox="1">
            <a:spLocks noGrp="1"/>
          </p:cNvSpPr>
          <p:nvPr>
            <p:ph type="title"/>
          </p:nvPr>
        </p:nvSpPr>
        <p:spPr>
          <a:xfrm>
            <a:off x="3768725" y="1467063"/>
            <a:ext cx="4307700" cy="640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70" name="Google Shape;70;p9"/>
          <p:cNvSpPr txBox="1"/>
          <p:nvPr/>
        </p:nvSpPr>
        <p:spPr>
          <a:xfrm>
            <a:off x="8267914" y="39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3300"/>
              <a:buFont typeface="Work Sans"/>
              <a:buNone/>
              <a:defRPr sz="33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O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55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11.emf"/><Relationship Id="rId18" Type="http://schemas.openxmlformats.org/officeDocument/2006/relationships/image" Target="../media/image16.em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emf"/><Relationship Id="rId12" Type="http://schemas.openxmlformats.org/officeDocument/2006/relationships/image" Target="../media/image10.emf"/><Relationship Id="rId17" Type="http://schemas.openxmlformats.org/officeDocument/2006/relationships/image" Target="../media/image15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4.emf"/><Relationship Id="rId20" Type="http://schemas.openxmlformats.org/officeDocument/2006/relationships/image" Target="../media/image18.emf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11" Type="http://schemas.openxmlformats.org/officeDocument/2006/relationships/image" Target="../media/image9.emf"/><Relationship Id="rId5" Type="http://schemas.openxmlformats.org/officeDocument/2006/relationships/image" Target="../media/image3.emf"/><Relationship Id="rId15" Type="http://schemas.openxmlformats.org/officeDocument/2006/relationships/image" Target="../media/image13.emf"/><Relationship Id="rId10" Type="http://schemas.openxmlformats.org/officeDocument/2006/relationships/image" Target="../media/image8.emf"/><Relationship Id="rId19" Type="http://schemas.openxmlformats.org/officeDocument/2006/relationships/image" Target="../media/image17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7.emf"/><Relationship Id="rId1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2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C9E0C39-8742-B14F-9B09-71798CFEC5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21803" y="1667144"/>
            <a:ext cx="6544231" cy="461665"/>
          </a:xfrm>
          <a:noFill/>
          <a:ln>
            <a:noFill/>
          </a:ln>
        </p:spPr>
        <p:txBody>
          <a:bodyPr spcFirstLastPara="1" wrap="square" lIns="68575" tIns="34275" rIns="68575" bIns="34275" anchor="t" anchorCtr="0"/>
          <a:lstStyle/>
          <a:p>
            <a:r>
              <a:rPr lang="es-CO" sz="2800" b="1"/>
              <a:t>Gerencia de Proyectos Portuarios</a:t>
            </a:r>
          </a:p>
          <a:p>
            <a:endParaRPr lang="es-CO" sz="2800" b="1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EE15E17B-33E7-4030-87A1-616152244F96}"/>
              </a:ext>
            </a:extLst>
          </p:cNvPr>
          <p:cNvSpPr txBox="1"/>
          <p:nvPr/>
        </p:nvSpPr>
        <p:spPr>
          <a:xfrm>
            <a:off x="3257649" y="2219615"/>
            <a:ext cx="5608385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95250" indent="0" algn="r">
              <a:lnSpc>
                <a:spcPct val="90000"/>
              </a:lnSpc>
              <a:spcBef>
                <a:spcPts val="800"/>
              </a:spcBef>
              <a:buClr>
                <a:srgbClr val="0054BC"/>
              </a:buClr>
              <a:buSzPts val="2100"/>
              <a:buNone/>
              <a:defRPr sz="3000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indent="-342900">
              <a:lnSpc>
                <a:spcPct val="90000"/>
              </a:lnSpc>
              <a:spcBef>
                <a:spcPts val="400"/>
              </a:spcBef>
              <a:buClr>
                <a:srgbClr val="0054BC"/>
              </a:buClr>
              <a:buSzPts val="1800"/>
              <a:buChar char="•"/>
              <a:defRPr sz="1800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indent="-323850">
              <a:lnSpc>
                <a:spcPct val="90000"/>
              </a:lnSpc>
              <a:spcBef>
                <a:spcPts val="400"/>
              </a:spcBef>
              <a:buClr>
                <a:srgbClr val="0054BC"/>
              </a:buClr>
              <a:buSzPts val="1500"/>
              <a:buChar char="•"/>
              <a:defRPr sz="1500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indent="-317500">
              <a:lnSpc>
                <a:spcPct val="90000"/>
              </a:lnSpc>
              <a:spcBef>
                <a:spcPts val="400"/>
              </a:spcBef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indent="-317500">
              <a:lnSpc>
                <a:spcPct val="90000"/>
              </a:lnSpc>
              <a:spcBef>
                <a:spcPts val="400"/>
              </a:spcBef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indent="-317500">
              <a:lnSpc>
                <a:spcPct val="90000"/>
              </a:lnSpc>
              <a:spcBef>
                <a:spcPts val="400"/>
              </a:spcBef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indent="-317500">
              <a:lnSpc>
                <a:spcPct val="90000"/>
              </a:lnSpc>
              <a:spcBef>
                <a:spcPts val="400"/>
              </a:spcBef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indent="-317500">
              <a:lnSpc>
                <a:spcPct val="90000"/>
              </a:lnSpc>
              <a:spcBef>
                <a:spcPts val="400"/>
              </a:spcBef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indent="-317500">
              <a:lnSpc>
                <a:spcPct val="90000"/>
              </a:lnSpc>
              <a:spcBef>
                <a:spcPts val="400"/>
              </a:spcBef>
              <a:buClr>
                <a:srgbClr val="0054BC"/>
              </a:buClr>
              <a:buSzPts val="1400"/>
              <a:buChar char="•"/>
              <a:defRPr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r>
              <a:rPr lang="es-CO" sz="1800"/>
              <a:t>Vicepresidencia de Gestión Contractual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4F4ACB8-6198-4875-B5D6-A490980361B9}"/>
              </a:ext>
            </a:extLst>
          </p:cNvPr>
          <p:cNvSpPr txBox="1"/>
          <p:nvPr/>
        </p:nvSpPr>
        <p:spPr>
          <a:xfrm>
            <a:off x="5029166" y="3712638"/>
            <a:ext cx="28921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80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/>
              </a:defRPr>
            </a:lvl1pPr>
          </a:lstStyle>
          <a:p>
            <a:r>
              <a:rPr lang="es-ES_tradnl" sz="1400">
                <a:effectLst/>
              </a:rPr>
              <a:t>Agosto de 2021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46" imgH="343" progId="TCLayout.ActiveDocument.1">
                  <p:embed/>
                </p:oleObj>
              </mc:Choice>
              <mc:Fallback>
                <p:oleObj name="Diapositiva de think-cell" r:id="rId4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72B5B42B-BC79-4D63-A338-82E319DADCC8}"/>
              </a:ext>
            </a:extLst>
          </p:cNvPr>
          <p:cNvSpPr txBox="1"/>
          <p:nvPr/>
        </p:nvSpPr>
        <p:spPr>
          <a:xfrm>
            <a:off x="446313" y="801007"/>
            <a:ext cx="813162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_tradnl"/>
            </a:defPPr>
            <a:lvl1pPr marL="342900" lvl="0" indent="-342900">
              <a:defRPr sz="4000" b="1">
                <a:solidFill>
                  <a:srgbClr val="033F78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indent="0" algn="just"/>
            <a:endParaRPr lang="es-CO" sz="1400" b="0"/>
          </a:p>
          <a:p>
            <a:pPr marL="0" indent="0" algn="just"/>
            <a:r>
              <a:rPr lang="es-CO" sz="1400" b="0"/>
              <a:t>En la Actualidad se encuentra planeada importantes inversiones para mejorar la infraestructura en equipos y mejorar la eficiencia de las terminales portuarias, en pro que los terminales colombianos sean competitivos a nivel mundial, entre lo cual se destacan los siguientes retos para el sector portuario:</a:t>
            </a:r>
          </a:p>
          <a:p>
            <a:pPr marL="0" indent="0" algn="just"/>
            <a:endParaRPr lang="es-CO" sz="1400" b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O" sz="1400" b="0"/>
              <a:t>Análisis de la capacidad portuaria establecida por el estudio del DNP como herramienta para la identificación de futuras concesiones o eventuales modificaciones.</a:t>
            </a:r>
          </a:p>
          <a:p>
            <a:pPr marL="0" indent="0" algn="just"/>
            <a:endParaRPr lang="es-CO" sz="1400" b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O" sz="1400" b="0"/>
              <a:t>Desarrollo de estrategias para afrontar los efectos derivados de la emergencia sanitaria generado por el covid-19 en las concesiones portuarias. </a:t>
            </a:r>
          </a:p>
          <a:p>
            <a:pPr marL="0" indent="0" algn="just"/>
            <a:endParaRPr lang="es-CO" sz="1400" b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O" sz="1400" b="0"/>
              <a:t>Apoyar y soportar el desarrollo del proyecto CONPES para el sector portuario en aspectos de competitividad y sostenibilidad de las concesiones portuarias.</a:t>
            </a:r>
          </a:p>
          <a:p>
            <a:pPr marL="0" indent="0" algn="just"/>
            <a:endParaRPr lang="es-CO" sz="1400" b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O" sz="1400" b="0"/>
              <a:t>Mejora de la conectividad terrestre vial y ferroviaria.</a:t>
            </a:r>
          </a:p>
          <a:p>
            <a:pPr marL="0" indent="0" algn="just"/>
            <a:endParaRPr lang="es-CO" sz="1400" b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O" sz="1400" b="0"/>
              <a:t>Reducción de los costos logísticos por conectividad terrestre.</a:t>
            </a:r>
            <a:r>
              <a:rPr lang="en-US" sz="1400" b="0"/>
              <a:t>​</a:t>
            </a:r>
            <a:endParaRPr lang="es-CO" sz="1400" b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O" sz="1400" b="0"/>
          </a:p>
          <a:p>
            <a:pPr marL="0" indent="0" algn="just"/>
            <a:endParaRPr lang="es-CO" sz="1400" b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FA1719E-1E07-421A-B65E-65533F41C698}"/>
              </a:ext>
            </a:extLst>
          </p:cNvPr>
          <p:cNvSpPr txBox="1">
            <a:spLocks/>
          </p:cNvSpPr>
          <p:nvPr/>
        </p:nvSpPr>
        <p:spPr>
          <a:xfrm>
            <a:off x="3979101" y="159081"/>
            <a:ext cx="1249670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FFFFFF"/>
              </a:buClr>
              <a:buSzPts val="1400"/>
              <a:buFont typeface="Work Sans Light"/>
              <a:buNone/>
              <a:defRPr sz="2400" b="1">
                <a:solidFill>
                  <a:srgbClr val="0054BC"/>
                </a:solidFill>
                <a:latin typeface="+mn-lt"/>
                <a:ea typeface="Work Sans"/>
                <a:cs typeface="Work Sans"/>
              </a:defRPr>
            </a:lvl1pPr>
            <a:lvl2pPr marL="914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2pPr>
            <a:lvl3pPr marL="1371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3pPr>
            <a:lvl4pPr marL="1828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4pPr>
            <a:lvl5pPr marL="22860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5pPr>
            <a:lvl6pPr marL="27432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6pPr>
            <a:lvl7pPr marL="3200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7pPr>
            <a:lvl8pPr marL="3657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8pPr>
            <a:lvl9pPr marL="4114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9pPr>
          </a:lstStyle>
          <a:p>
            <a:r>
              <a:rPr lang="es-ES"/>
              <a:t>Retos</a:t>
            </a:r>
          </a:p>
        </p:txBody>
      </p:sp>
    </p:spTree>
    <p:extLst>
      <p:ext uri="{BB962C8B-B14F-4D97-AF65-F5344CB8AC3E}">
        <p14:creationId xmlns:p14="http://schemas.microsoft.com/office/powerpoint/2010/main" val="12724849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46" imgH="343" progId="TCLayout.ActiveDocument.1">
                  <p:embed/>
                </p:oleObj>
              </mc:Choice>
              <mc:Fallback>
                <p:oleObj name="Diapositiva de think-cell" r:id="rId4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>
            <a:extLst>
              <a:ext uri="{FF2B5EF4-FFF2-40B4-BE49-F238E27FC236}">
                <a16:creationId xmlns:a16="http://schemas.microsoft.com/office/drawing/2014/main" id="{47C9283C-468D-4410-97C2-F1726AB862F6}"/>
              </a:ext>
            </a:extLst>
          </p:cNvPr>
          <p:cNvSpPr/>
          <p:nvPr/>
        </p:nvSpPr>
        <p:spPr>
          <a:xfrm>
            <a:off x="7203989" y="4395602"/>
            <a:ext cx="1940011" cy="646331"/>
          </a:xfrm>
          <a:prstGeom prst="rect">
            <a:avLst/>
          </a:prstGeom>
          <a:solidFill>
            <a:srgbClr val="DC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8AAD775-5C72-4935-AD94-ADECA2B22659}"/>
              </a:ext>
            </a:extLst>
          </p:cNvPr>
          <p:cNvSpPr txBox="1"/>
          <p:nvPr/>
        </p:nvSpPr>
        <p:spPr>
          <a:xfrm>
            <a:off x="2068599" y="2202322"/>
            <a:ext cx="500680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FFFFFF"/>
              </a:buClr>
              <a:buSzPts val="1400"/>
              <a:buFont typeface="Work Sans Light"/>
              <a:buNone/>
              <a:defRPr sz="2400" b="1">
                <a:solidFill>
                  <a:srgbClr val="0054BC"/>
                </a:solidFill>
                <a:latin typeface="+mn-lt"/>
                <a:ea typeface="Work Sans"/>
                <a:cs typeface="Work Sans"/>
              </a:defRPr>
            </a:lvl1pPr>
            <a:lvl2pPr marL="914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2pPr>
            <a:lvl3pPr marL="1371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3pPr>
            <a:lvl4pPr marL="1828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4pPr>
            <a:lvl5pPr marL="22860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5pPr>
            <a:lvl6pPr marL="27432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6pPr>
            <a:lvl7pPr marL="3200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7pPr>
            <a:lvl8pPr marL="3657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8pPr>
            <a:lvl9pPr marL="4114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9pPr>
          </a:lstStyle>
          <a:p>
            <a:pPr algn="ctr"/>
            <a:r>
              <a:rPr lang="es-CO" sz="3200"/>
              <a:t>¡Gracias!</a:t>
            </a:r>
          </a:p>
        </p:txBody>
      </p:sp>
    </p:spTree>
    <p:extLst>
      <p:ext uri="{BB962C8B-B14F-4D97-AF65-F5344CB8AC3E}">
        <p14:creationId xmlns:p14="http://schemas.microsoft.com/office/powerpoint/2010/main" val="33561857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46" imgH="343" progId="TCLayout.ActiveDocument.1">
                  <p:embed/>
                </p:oleObj>
              </mc:Choice>
              <mc:Fallback>
                <p:oleObj name="Diapositiva de think-cell" r:id="rId4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1">
            <a:extLst>
              <a:ext uri="{FF2B5EF4-FFF2-40B4-BE49-F238E27FC236}">
                <a16:creationId xmlns:a16="http://schemas.microsoft.com/office/drawing/2014/main" id="{4794858A-348D-4EA1-AA87-73D573F7D238}"/>
              </a:ext>
            </a:extLst>
          </p:cNvPr>
          <p:cNvSpPr txBox="1">
            <a:spLocks/>
          </p:cNvSpPr>
          <p:nvPr/>
        </p:nvSpPr>
        <p:spPr>
          <a:xfrm>
            <a:off x="2574204" y="31783"/>
            <a:ext cx="3913682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FFFFFF"/>
              </a:buClr>
              <a:buSzPts val="1400"/>
              <a:buFont typeface="Work Sans Light"/>
              <a:buNone/>
              <a:defRPr sz="2400" b="1">
                <a:solidFill>
                  <a:srgbClr val="0054BC"/>
                </a:solidFill>
                <a:latin typeface="+mn-lt"/>
                <a:ea typeface="Work Sans"/>
                <a:cs typeface="Work Sans"/>
              </a:defRPr>
            </a:lvl1pPr>
            <a:lvl2pPr marL="914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2pPr>
            <a:lvl3pPr marL="1371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3pPr>
            <a:lvl4pPr marL="1828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4pPr>
            <a:lvl5pPr marL="22860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5pPr>
            <a:lvl6pPr marL="27432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6pPr>
            <a:lvl7pPr marL="3200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7pPr>
            <a:lvl8pPr marL="3657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8pPr>
            <a:lvl9pPr marL="4114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9pPr>
          </a:lstStyle>
          <a:p>
            <a:pPr algn="ctr"/>
            <a:r>
              <a:rPr lang="es-ES"/>
              <a:t>Zonas Portuarias - ANI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0F44C43-B4CF-4F49-918F-7FF76BCF8A85}"/>
              </a:ext>
            </a:extLst>
          </p:cNvPr>
          <p:cNvSpPr txBox="1"/>
          <p:nvPr/>
        </p:nvSpPr>
        <p:spPr>
          <a:xfrm>
            <a:off x="4624141" y="930068"/>
            <a:ext cx="3108543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700" b="1">
                <a:solidFill>
                  <a:srgbClr val="F06102"/>
                </a:solidFill>
                <a:latin typeface="Arial" charset="0"/>
                <a:ea typeface="Arial" charset="0"/>
                <a:cs typeface="Arial" charset="0"/>
              </a:rPr>
              <a:t>8 </a:t>
            </a:r>
            <a:r>
              <a:rPr lang="es-ES_tradnl" sz="2700">
                <a:solidFill>
                  <a:srgbClr val="024077"/>
                </a:solidFill>
                <a:latin typeface="Arial" charset="0"/>
                <a:ea typeface="Arial" charset="0"/>
                <a:cs typeface="Arial" charset="0"/>
              </a:rPr>
              <a:t>Zonas Portuarias</a:t>
            </a:r>
            <a:endParaRPr lang="es-ES_tradnl" sz="2700" b="1">
              <a:solidFill>
                <a:srgbClr val="F0610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F2AFED6-A705-49A8-83EA-EEB8BB27DA68}"/>
              </a:ext>
            </a:extLst>
          </p:cNvPr>
          <p:cNvSpPr txBox="1"/>
          <p:nvPr/>
        </p:nvSpPr>
        <p:spPr>
          <a:xfrm>
            <a:off x="5066569" y="1413995"/>
            <a:ext cx="2666114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700" b="1">
                <a:solidFill>
                  <a:srgbClr val="F06102"/>
                </a:solidFill>
                <a:latin typeface="Arial" charset="0"/>
                <a:ea typeface="Arial" charset="0"/>
                <a:cs typeface="Arial" charset="0"/>
              </a:rPr>
              <a:t>63 </a:t>
            </a:r>
            <a:r>
              <a:rPr lang="es-ES_tradnl" sz="2700">
                <a:solidFill>
                  <a:srgbClr val="024077"/>
                </a:solidFill>
                <a:latin typeface="Arial" charset="0"/>
                <a:ea typeface="Arial" charset="0"/>
                <a:cs typeface="Arial" charset="0"/>
              </a:rPr>
              <a:t>Concesiones</a:t>
            </a:r>
            <a:endParaRPr lang="es-ES_tradnl" sz="2700" b="1">
              <a:solidFill>
                <a:srgbClr val="F06102"/>
              </a:solidFill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ACA92692-FD70-4781-97DB-383AAD7D57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6790519"/>
              </p:ext>
            </p:extLst>
          </p:nvPr>
        </p:nvGraphicFramePr>
        <p:xfrm>
          <a:off x="4448445" y="1898275"/>
          <a:ext cx="3142921" cy="292404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21074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54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77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na Portuaria </a:t>
                      </a:r>
                      <a:endParaRPr lang="es-CO" sz="11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2E6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minales Existentes</a:t>
                      </a:r>
                      <a:endParaRPr lang="es-CO" sz="11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2E6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7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uajira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s-CO" sz="11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7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ta Marta y Ciénaga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7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tagena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MX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es-CO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s-ES" sz="11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7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Andres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s-CO" sz="11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7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lfo de Morrosquillo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s-CO" sz="11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7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rabá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7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enaventura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7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umaco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s-ES" sz="11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7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</a:t>
                      </a:r>
                      <a:endParaRPr lang="es-CO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670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  <a:endParaRPr lang="es-ES" sz="1100" b="1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670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2" name="Redondear rectángulo de esquina diagonal 11">
            <a:extLst>
              <a:ext uri="{FF2B5EF4-FFF2-40B4-BE49-F238E27FC236}">
                <a16:creationId xmlns:a16="http://schemas.microsoft.com/office/drawing/2014/main" id="{819060A8-11E0-46D5-B102-3341AB91DBD8}"/>
              </a:ext>
            </a:extLst>
          </p:cNvPr>
          <p:cNvSpPr/>
          <p:nvPr/>
        </p:nvSpPr>
        <p:spPr>
          <a:xfrm>
            <a:off x="4114579" y="698907"/>
            <a:ext cx="2104694" cy="290015"/>
          </a:xfrm>
          <a:prstGeom prst="round2DiagRect">
            <a:avLst/>
          </a:prstGeom>
          <a:solidFill>
            <a:srgbClr val="02407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05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683E87B6-CD3C-4B7D-8F22-4D9DCC19A5D5}"/>
              </a:ext>
            </a:extLst>
          </p:cNvPr>
          <p:cNvSpPr txBox="1"/>
          <p:nvPr/>
        </p:nvSpPr>
        <p:spPr>
          <a:xfrm>
            <a:off x="4137388" y="646407"/>
            <a:ext cx="1742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Que tenemos: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E7F2B3A3-A657-4750-B014-FAC433C7D76A}"/>
              </a:ext>
            </a:extLst>
          </p:cNvPr>
          <p:cNvSpPr/>
          <p:nvPr/>
        </p:nvSpPr>
        <p:spPr>
          <a:xfrm>
            <a:off x="2435225" y="1015739"/>
            <a:ext cx="476250" cy="86154"/>
          </a:xfrm>
          <a:prstGeom prst="rect">
            <a:avLst/>
          </a:prstGeom>
          <a:solidFill>
            <a:srgbClr val="DC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5C3EABF6-1677-4D3F-8EBA-49F4A249922A}"/>
              </a:ext>
            </a:extLst>
          </p:cNvPr>
          <p:cNvSpPr/>
          <p:nvPr/>
        </p:nvSpPr>
        <p:spPr>
          <a:xfrm>
            <a:off x="2428875" y="1045855"/>
            <a:ext cx="342900" cy="86154"/>
          </a:xfrm>
          <a:prstGeom prst="rect">
            <a:avLst/>
          </a:prstGeom>
          <a:solidFill>
            <a:srgbClr val="DC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pSp>
        <p:nvGrpSpPr>
          <p:cNvPr id="15" name="Group 13">
            <a:extLst>
              <a:ext uri="{FF2B5EF4-FFF2-40B4-BE49-F238E27FC236}">
                <a16:creationId xmlns:a16="http://schemas.microsoft.com/office/drawing/2014/main" id="{AD0EE66F-9953-445C-9812-8264D5CEB3E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2522" y="168193"/>
            <a:ext cx="3500437" cy="4926766"/>
            <a:chOff x="144" y="18"/>
            <a:chExt cx="2302" cy="3240"/>
          </a:xfrm>
        </p:grpSpPr>
        <p:sp>
          <p:nvSpPr>
            <p:cNvPr id="16" name="AutoShape 12">
              <a:extLst>
                <a:ext uri="{FF2B5EF4-FFF2-40B4-BE49-F238E27FC236}">
                  <a16:creationId xmlns:a16="http://schemas.microsoft.com/office/drawing/2014/main" id="{D3AA27C1-0952-4143-A544-7EA245504AA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4" y="18"/>
              <a:ext cx="2302" cy="3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EB062AD2-A1E9-4DFB-BDAE-084194EDD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" y="1299"/>
              <a:ext cx="281" cy="311"/>
            </a:xfrm>
            <a:custGeom>
              <a:avLst/>
              <a:gdLst>
                <a:gd name="T0" fmla="*/ 124 w 281"/>
                <a:gd name="T1" fmla="*/ 14 h 311"/>
                <a:gd name="T2" fmla="*/ 141 w 281"/>
                <a:gd name="T3" fmla="*/ 17 h 311"/>
                <a:gd name="T4" fmla="*/ 162 w 281"/>
                <a:gd name="T5" fmla="*/ 26 h 311"/>
                <a:gd name="T6" fmla="*/ 168 w 281"/>
                <a:gd name="T7" fmla="*/ 35 h 311"/>
                <a:gd name="T8" fmla="*/ 186 w 281"/>
                <a:gd name="T9" fmla="*/ 43 h 311"/>
                <a:gd name="T10" fmla="*/ 198 w 281"/>
                <a:gd name="T11" fmla="*/ 52 h 311"/>
                <a:gd name="T12" fmla="*/ 203 w 281"/>
                <a:gd name="T13" fmla="*/ 72 h 311"/>
                <a:gd name="T14" fmla="*/ 188 w 281"/>
                <a:gd name="T15" fmla="*/ 78 h 311"/>
                <a:gd name="T16" fmla="*/ 173 w 281"/>
                <a:gd name="T17" fmla="*/ 88 h 311"/>
                <a:gd name="T18" fmla="*/ 182 w 281"/>
                <a:gd name="T19" fmla="*/ 101 h 311"/>
                <a:gd name="T20" fmla="*/ 186 w 281"/>
                <a:gd name="T21" fmla="*/ 119 h 311"/>
                <a:gd name="T22" fmla="*/ 190 w 281"/>
                <a:gd name="T23" fmla="*/ 134 h 311"/>
                <a:gd name="T24" fmla="*/ 207 w 281"/>
                <a:gd name="T25" fmla="*/ 137 h 311"/>
                <a:gd name="T26" fmla="*/ 215 w 281"/>
                <a:gd name="T27" fmla="*/ 148 h 311"/>
                <a:gd name="T28" fmla="*/ 238 w 281"/>
                <a:gd name="T29" fmla="*/ 130 h 311"/>
                <a:gd name="T30" fmla="*/ 250 w 281"/>
                <a:gd name="T31" fmla="*/ 137 h 311"/>
                <a:gd name="T32" fmla="*/ 263 w 281"/>
                <a:gd name="T33" fmla="*/ 146 h 311"/>
                <a:gd name="T34" fmla="*/ 274 w 281"/>
                <a:gd name="T35" fmla="*/ 154 h 311"/>
                <a:gd name="T36" fmla="*/ 281 w 281"/>
                <a:gd name="T37" fmla="*/ 164 h 311"/>
                <a:gd name="T38" fmla="*/ 269 w 281"/>
                <a:gd name="T39" fmla="*/ 176 h 311"/>
                <a:gd name="T40" fmla="*/ 257 w 281"/>
                <a:gd name="T41" fmla="*/ 189 h 311"/>
                <a:gd name="T42" fmla="*/ 241 w 281"/>
                <a:gd name="T43" fmla="*/ 195 h 311"/>
                <a:gd name="T44" fmla="*/ 223 w 281"/>
                <a:gd name="T45" fmla="*/ 200 h 311"/>
                <a:gd name="T46" fmla="*/ 203 w 281"/>
                <a:gd name="T47" fmla="*/ 200 h 311"/>
                <a:gd name="T48" fmla="*/ 202 w 281"/>
                <a:gd name="T49" fmla="*/ 215 h 311"/>
                <a:gd name="T50" fmla="*/ 188 w 281"/>
                <a:gd name="T51" fmla="*/ 223 h 311"/>
                <a:gd name="T52" fmla="*/ 166 w 281"/>
                <a:gd name="T53" fmla="*/ 237 h 311"/>
                <a:gd name="T54" fmla="*/ 158 w 281"/>
                <a:gd name="T55" fmla="*/ 253 h 311"/>
                <a:gd name="T56" fmla="*/ 136 w 281"/>
                <a:gd name="T57" fmla="*/ 251 h 311"/>
                <a:gd name="T58" fmla="*/ 125 w 281"/>
                <a:gd name="T59" fmla="*/ 279 h 311"/>
                <a:gd name="T60" fmla="*/ 25 w 281"/>
                <a:gd name="T61" fmla="*/ 311 h 311"/>
                <a:gd name="T62" fmla="*/ 6 w 281"/>
                <a:gd name="T63" fmla="*/ 284 h 311"/>
                <a:gd name="T64" fmla="*/ 0 w 281"/>
                <a:gd name="T65" fmla="*/ 255 h 311"/>
                <a:gd name="T66" fmla="*/ 7 w 281"/>
                <a:gd name="T67" fmla="*/ 226 h 311"/>
                <a:gd name="T68" fmla="*/ 14 w 281"/>
                <a:gd name="T69" fmla="*/ 202 h 311"/>
                <a:gd name="T70" fmla="*/ 26 w 281"/>
                <a:gd name="T71" fmla="*/ 170 h 311"/>
                <a:gd name="T72" fmla="*/ 43 w 281"/>
                <a:gd name="T73" fmla="*/ 157 h 311"/>
                <a:gd name="T74" fmla="*/ 46 w 281"/>
                <a:gd name="T75" fmla="*/ 134 h 311"/>
                <a:gd name="T76" fmla="*/ 37 w 281"/>
                <a:gd name="T77" fmla="*/ 121 h 311"/>
                <a:gd name="T78" fmla="*/ 19 w 281"/>
                <a:gd name="T79" fmla="*/ 107 h 311"/>
                <a:gd name="T80" fmla="*/ 9 w 281"/>
                <a:gd name="T81" fmla="*/ 85 h 311"/>
                <a:gd name="T82" fmla="*/ 18 w 281"/>
                <a:gd name="T83" fmla="*/ 72 h 311"/>
                <a:gd name="T84" fmla="*/ 31 w 281"/>
                <a:gd name="T85" fmla="*/ 59 h 311"/>
                <a:gd name="T86" fmla="*/ 45 w 281"/>
                <a:gd name="T87" fmla="*/ 47 h 311"/>
                <a:gd name="T88" fmla="*/ 54 w 281"/>
                <a:gd name="T89" fmla="*/ 29 h 311"/>
                <a:gd name="T90" fmla="*/ 61 w 281"/>
                <a:gd name="T91" fmla="*/ 16 h 311"/>
                <a:gd name="T92" fmla="*/ 79 w 281"/>
                <a:gd name="T93" fmla="*/ 6 h 311"/>
                <a:gd name="T94" fmla="*/ 100 w 281"/>
                <a:gd name="T95" fmla="*/ 0 h 311"/>
                <a:gd name="T96" fmla="*/ 122 w 281"/>
                <a:gd name="T97" fmla="*/ 3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1" h="311">
                  <a:moveTo>
                    <a:pt x="122" y="3"/>
                  </a:moveTo>
                  <a:lnTo>
                    <a:pt x="124" y="14"/>
                  </a:lnTo>
                  <a:lnTo>
                    <a:pt x="133" y="17"/>
                  </a:lnTo>
                  <a:lnTo>
                    <a:pt x="141" y="17"/>
                  </a:lnTo>
                  <a:lnTo>
                    <a:pt x="151" y="25"/>
                  </a:lnTo>
                  <a:lnTo>
                    <a:pt x="162" y="26"/>
                  </a:lnTo>
                  <a:lnTo>
                    <a:pt x="161" y="32"/>
                  </a:lnTo>
                  <a:lnTo>
                    <a:pt x="168" y="35"/>
                  </a:lnTo>
                  <a:lnTo>
                    <a:pt x="176" y="40"/>
                  </a:lnTo>
                  <a:lnTo>
                    <a:pt x="186" y="43"/>
                  </a:lnTo>
                  <a:lnTo>
                    <a:pt x="189" y="50"/>
                  </a:lnTo>
                  <a:lnTo>
                    <a:pt x="198" y="52"/>
                  </a:lnTo>
                  <a:lnTo>
                    <a:pt x="202" y="60"/>
                  </a:lnTo>
                  <a:lnTo>
                    <a:pt x="203" y="72"/>
                  </a:lnTo>
                  <a:lnTo>
                    <a:pt x="198" y="77"/>
                  </a:lnTo>
                  <a:lnTo>
                    <a:pt x="188" y="78"/>
                  </a:lnTo>
                  <a:lnTo>
                    <a:pt x="177" y="82"/>
                  </a:lnTo>
                  <a:lnTo>
                    <a:pt x="173" y="88"/>
                  </a:lnTo>
                  <a:lnTo>
                    <a:pt x="183" y="93"/>
                  </a:lnTo>
                  <a:lnTo>
                    <a:pt x="182" y="101"/>
                  </a:lnTo>
                  <a:lnTo>
                    <a:pt x="184" y="111"/>
                  </a:lnTo>
                  <a:lnTo>
                    <a:pt x="186" y="119"/>
                  </a:lnTo>
                  <a:lnTo>
                    <a:pt x="188" y="128"/>
                  </a:lnTo>
                  <a:lnTo>
                    <a:pt x="190" y="134"/>
                  </a:lnTo>
                  <a:lnTo>
                    <a:pt x="201" y="134"/>
                  </a:lnTo>
                  <a:lnTo>
                    <a:pt x="207" y="137"/>
                  </a:lnTo>
                  <a:lnTo>
                    <a:pt x="206" y="146"/>
                  </a:lnTo>
                  <a:lnTo>
                    <a:pt x="215" y="148"/>
                  </a:lnTo>
                  <a:lnTo>
                    <a:pt x="227" y="143"/>
                  </a:lnTo>
                  <a:lnTo>
                    <a:pt x="238" y="130"/>
                  </a:lnTo>
                  <a:lnTo>
                    <a:pt x="239" y="139"/>
                  </a:lnTo>
                  <a:lnTo>
                    <a:pt x="250" y="137"/>
                  </a:lnTo>
                  <a:lnTo>
                    <a:pt x="258" y="141"/>
                  </a:lnTo>
                  <a:lnTo>
                    <a:pt x="263" y="146"/>
                  </a:lnTo>
                  <a:lnTo>
                    <a:pt x="273" y="147"/>
                  </a:lnTo>
                  <a:lnTo>
                    <a:pt x="274" y="154"/>
                  </a:lnTo>
                  <a:lnTo>
                    <a:pt x="275" y="161"/>
                  </a:lnTo>
                  <a:lnTo>
                    <a:pt x="281" y="164"/>
                  </a:lnTo>
                  <a:lnTo>
                    <a:pt x="278" y="171"/>
                  </a:lnTo>
                  <a:lnTo>
                    <a:pt x="269" y="176"/>
                  </a:lnTo>
                  <a:lnTo>
                    <a:pt x="262" y="181"/>
                  </a:lnTo>
                  <a:lnTo>
                    <a:pt x="257" y="189"/>
                  </a:lnTo>
                  <a:lnTo>
                    <a:pt x="252" y="196"/>
                  </a:lnTo>
                  <a:lnTo>
                    <a:pt x="241" y="195"/>
                  </a:lnTo>
                  <a:lnTo>
                    <a:pt x="233" y="199"/>
                  </a:lnTo>
                  <a:lnTo>
                    <a:pt x="223" y="200"/>
                  </a:lnTo>
                  <a:lnTo>
                    <a:pt x="213" y="199"/>
                  </a:lnTo>
                  <a:lnTo>
                    <a:pt x="203" y="200"/>
                  </a:lnTo>
                  <a:lnTo>
                    <a:pt x="202" y="206"/>
                  </a:lnTo>
                  <a:lnTo>
                    <a:pt x="202" y="215"/>
                  </a:lnTo>
                  <a:lnTo>
                    <a:pt x="191" y="216"/>
                  </a:lnTo>
                  <a:lnTo>
                    <a:pt x="188" y="223"/>
                  </a:lnTo>
                  <a:lnTo>
                    <a:pt x="179" y="231"/>
                  </a:lnTo>
                  <a:lnTo>
                    <a:pt x="166" y="237"/>
                  </a:lnTo>
                  <a:lnTo>
                    <a:pt x="165" y="248"/>
                  </a:lnTo>
                  <a:lnTo>
                    <a:pt x="158" y="253"/>
                  </a:lnTo>
                  <a:lnTo>
                    <a:pt x="148" y="248"/>
                  </a:lnTo>
                  <a:lnTo>
                    <a:pt x="136" y="251"/>
                  </a:lnTo>
                  <a:lnTo>
                    <a:pt x="131" y="266"/>
                  </a:lnTo>
                  <a:lnTo>
                    <a:pt x="125" y="279"/>
                  </a:lnTo>
                  <a:lnTo>
                    <a:pt x="109" y="307"/>
                  </a:lnTo>
                  <a:lnTo>
                    <a:pt x="25" y="311"/>
                  </a:lnTo>
                  <a:lnTo>
                    <a:pt x="18" y="299"/>
                  </a:lnTo>
                  <a:lnTo>
                    <a:pt x="6" y="284"/>
                  </a:lnTo>
                  <a:lnTo>
                    <a:pt x="3" y="274"/>
                  </a:lnTo>
                  <a:lnTo>
                    <a:pt x="0" y="255"/>
                  </a:lnTo>
                  <a:lnTo>
                    <a:pt x="2" y="241"/>
                  </a:lnTo>
                  <a:lnTo>
                    <a:pt x="7" y="226"/>
                  </a:lnTo>
                  <a:lnTo>
                    <a:pt x="14" y="215"/>
                  </a:lnTo>
                  <a:lnTo>
                    <a:pt x="14" y="202"/>
                  </a:lnTo>
                  <a:lnTo>
                    <a:pt x="17" y="188"/>
                  </a:lnTo>
                  <a:lnTo>
                    <a:pt x="26" y="170"/>
                  </a:lnTo>
                  <a:lnTo>
                    <a:pt x="34" y="163"/>
                  </a:lnTo>
                  <a:lnTo>
                    <a:pt x="43" y="157"/>
                  </a:lnTo>
                  <a:lnTo>
                    <a:pt x="45" y="147"/>
                  </a:lnTo>
                  <a:lnTo>
                    <a:pt x="46" y="134"/>
                  </a:lnTo>
                  <a:lnTo>
                    <a:pt x="45" y="126"/>
                  </a:lnTo>
                  <a:lnTo>
                    <a:pt x="37" y="121"/>
                  </a:lnTo>
                  <a:lnTo>
                    <a:pt x="26" y="116"/>
                  </a:lnTo>
                  <a:lnTo>
                    <a:pt x="19" y="107"/>
                  </a:lnTo>
                  <a:lnTo>
                    <a:pt x="15" y="96"/>
                  </a:lnTo>
                  <a:lnTo>
                    <a:pt x="9" y="85"/>
                  </a:lnTo>
                  <a:lnTo>
                    <a:pt x="17" y="81"/>
                  </a:lnTo>
                  <a:lnTo>
                    <a:pt x="18" y="72"/>
                  </a:lnTo>
                  <a:lnTo>
                    <a:pt x="27" y="67"/>
                  </a:lnTo>
                  <a:lnTo>
                    <a:pt x="31" y="59"/>
                  </a:lnTo>
                  <a:lnTo>
                    <a:pt x="35" y="54"/>
                  </a:lnTo>
                  <a:lnTo>
                    <a:pt x="45" y="47"/>
                  </a:lnTo>
                  <a:lnTo>
                    <a:pt x="44" y="36"/>
                  </a:lnTo>
                  <a:lnTo>
                    <a:pt x="54" y="29"/>
                  </a:lnTo>
                  <a:lnTo>
                    <a:pt x="59" y="24"/>
                  </a:lnTo>
                  <a:lnTo>
                    <a:pt x="61" y="16"/>
                  </a:lnTo>
                  <a:lnTo>
                    <a:pt x="70" y="10"/>
                  </a:lnTo>
                  <a:lnTo>
                    <a:pt x="79" y="6"/>
                  </a:lnTo>
                  <a:lnTo>
                    <a:pt x="87" y="3"/>
                  </a:lnTo>
                  <a:lnTo>
                    <a:pt x="100" y="0"/>
                  </a:lnTo>
                  <a:lnTo>
                    <a:pt x="112" y="1"/>
                  </a:lnTo>
                  <a:lnTo>
                    <a:pt x="122" y="3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D2F03D2A-A5D5-4117-8FB5-F9B3A0C6C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" y="1299"/>
              <a:ext cx="281" cy="311"/>
            </a:xfrm>
            <a:custGeom>
              <a:avLst/>
              <a:gdLst>
                <a:gd name="T0" fmla="*/ 124 w 281"/>
                <a:gd name="T1" fmla="*/ 14 h 311"/>
                <a:gd name="T2" fmla="*/ 141 w 281"/>
                <a:gd name="T3" fmla="*/ 17 h 311"/>
                <a:gd name="T4" fmla="*/ 162 w 281"/>
                <a:gd name="T5" fmla="*/ 26 h 311"/>
                <a:gd name="T6" fmla="*/ 168 w 281"/>
                <a:gd name="T7" fmla="*/ 35 h 311"/>
                <a:gd name="T8" fmla="*/ 186 w 281"/>
                <a:gd name="T9" fmla="*/ 43 h 311"/>
                <a:gd name="T10" fmla="*/ 198 w 281"/>
                <a:gd name="T11" fmla="*/ 52 h 311"/>
                <a:gd name="T12" fmla="*/ 203 w 281"/>
                <a:gd name="T13" fmla="*/ 72 h 311"/>
                <a:gd name="T14" fmla="*/ 188 w 281"/>
                <a:gd name="T15" fmla="*/ 78 h 311"/>
                <a:gd name="T16" fmla="*/ 173 w 281"/>
                <a:gd name="T17" fmla="*/ 88 h 311"/>
                <a:gd name="T18" fmla="*/ 182 w 281"/>
                <a:gd name="T19" fmla="*/ 101 h 311"/>
                <a:gd name="T20" fmla="*/ 186 w 281"/>
                <a:gd name="T21" fmla="*/ 119 h 311"/>
                <a:gd name="T22" fmla="*/ 190 w 281"/>
                <a:gd name="T23" fmla="*/ 134 h 311"/>
                <a:gd name="T24" fmla="*/ 207 w 281"/>
                <a:gd name="T25" fmla="*/ 137 h 311"/>
                <a:gd name="T26" fmla="*/ 215 w 281"/>
                <a:gd name="T27" fmla="*/ 148 h 311"/>
                <a:gd name="T28" fmla="*/ 238 w 281"/>
                <a:gd name="T29" fmla="*/ 130 h 311"/>
                <a:gd name="T30" fmla="*/ 250 w 281"/>
                <a:gd name="T31" fmla="*/ 137 h 311"/>
                <a:gd name="T32" fmla="*/ 263 w 281"/>
                <a:gd name="T33" fmla="*/ 146 h 311"/>
                <a:gd name="T34" fmla="*/ 274 w 281"/>
                <a:gd name="T35" fmla="*/ 154 h 311"/>
                <a:gd name="T36" fmla="*/ 281 w 281"/>
                <a:gd name="T37" fmla="*/ 164 h 311"/>
                <a:gd name="T38" fmla="*/ 269 w 281"/>
                <a:gd name="T39" fmla="*/ 176 h 311"/>
                <a:gd name="T40" fmla="*/ 257 w 281"/>
                <a:gd name="T41" fmla="*/ 189 h 311"/>
                <a:gd name="T42" fmla="*/ 241 w 281"/>
                <a:gd name="T43" fmla="*/ 195 h 311"/>
                <a:gd name="T44" fmla="*/ 223 w 281"/>
                <a:gd name="T45" fmla="*/ 200 h 311"/>
                <a:gd name="T46" fmla="*/ 203 w 281"/>
                <a:gd name="T47" fmla="*/ 200 h 311"/>
                <a:gd name="T48" fmla="*/ 202 w 281"/>
                <a:gd name="T49" fmla="*/ 215 h 311"/>
                <a:gd name="T50" fmla="*/ 188 w 281"/>
                <a:gd name="T51" fmla="*/ 223 h 311"/>
                <a:gd name="T52" fmla="*/ 166 w 281"/>
                <a:gd name="T53" fmla="*/ 237 h 311"/>
                <a:gd name="T54" fmla="*/ 158 w 281"/>
                <a:gd name="T55" fmla="*/ 253 h 311"/>
                <a:gd name="T56" fmla="*/ 136 w 281"/>
                <a:gd name="T57" fmla="*/ 251 h 311"/>
                <a:gd name="T58" fmla="*/ 125 w 281"/>
                <a:gd name="T59" fmla="*/ 279 h 311"/>
                <a:gd name="T60" fmla="*/ 25 w 281"/>
                <a:gd name="T61" fmla="*/ 311 h 311"/>
                <a:gd name="T62" fmla="*/ 6 w 281"/>
                <a:gd name="T63" fmla="*/ 284 h 311"/>
                <a:gd name="T64" fmla="*/ 0 w 281"/>
                <a:gd name="T65" fmla="*/ 255 h 311"/>
                <a:gd name="T66" fmla="*/ 7 w 281"/>
                <a:gd name="T67" fmla="*/ 226 h 311"/>
                <a:gd name="T68" fmla="*/ 14 w 281"/>
                <a:gd name="T69" fmla="*/ 202 h 311"/>
                <a:gd name="T70" fmla="*/ 26 w 281"/>
                <a:gd name="T71" fmla="*/ 170 h 311"/>
                <a:gd name="T72" fmla="*/ 43 w 281"/>
                <a:gd name="T73" fmla="*/ 157 h 311"/>
                <a:gd name="T74" fmla="*/ 46 w 281"/>
                <a:gd name="T75" fmla="*/ 134 h 311"/>
                <a:gd name="T76" fmla="*/ 37 w 281"/>
                <a:gd name="T77" fmla="*/ 121 h 311"/>
                <a:gd name="T78" fmla="*/ 19 w 281"/>
                <a:gd name="T79" fmla="*/ 107 h 311"/>
                <a:gd name="T80" fmla="*/ 9 w 281"/>
                <a:gd name="T81" fmla="*/ 85 h 311"/>
                <a:gd name="T82" fmla="*/ 18 w 281"/>
                <a:gd name="T83" fmla="*/ 72 h 311"/>
                <a:gd name="T84" fmla="*/ 31 w 281"/>
                <a:gd name="T85" fmla="*/ 59 h 311"/>
                <a:gd name="T86" fmla="*/ 45 w 281"/>
                <a:gd name="T87" fmla="*/ 47 h 311"/>
                <a:gd name="T88" fmla="*/ 54 w 281"/>
                <a:gd name="T89" fmla="*/ 29 h 311"/>
                <a:gd name="T90" fmla="*/ 61 w 281"/>
                <a:gd name="T91" fmla="*/ 16 h 311"/>
                <a:gd name="T92" fmla="*/ 79 w 281"/>
                <a:gd name="T93" fmla="*/ 6 h 311"/>
                <a:gd name="T94" fmla="*/ 100 w 281"/>
                <a:gd name="T95" fmla="*/ 0 h 311"/>
                <a:gd name="T96" fmla="*/ 122 w 281"/>
                <a:gd name="T97" fmla="*/ 3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1" h="311">
                  <a:moveTo>
                    <a:pt x="122" y="3"/>
                  </a:moveTo>
                  <a:lnTo>
                    <a:pt x="124" y="14"/>
                  </a:lnTo>
                  <a:lnTo>
                    <a:pt x="133" y="17"/>
                  </a:lnTo>
                  <a:lnTo>
                    <a:pt x="141" y="17"/>
                  </a:lnTo>
                  <a:lnTo>
                    <a:pt x="151" y="25"/>
                  </a:lnTo>
                  <a:lnTo>
                    <a:pt x="162" y="26"/>
                  </a:lnTo>
                  <a:lnTo>
                    <a:pt x="161" y="32"/>
                  </a:lnTo>
                  <a:lnTo>
                    <a:pt x="168" y="35"/>
                  </a:lnTo>
                  <a:lnTo>
                    <a:pt x="176" y="40"/>
                  </a:lnTo>
                  <a:lnTo>
                    <a:pt x="186" y="43"/>
                  </a:lnTo>
                  <a:lnTo>
                    <a:pt x="189" y="50"/>
                  </a:lnTo>
                  <a:lnTo>
                    <a:pt x="198" y="52"/>
                  </a:lnTo>
                  <a:lnTo>
                    <a:pt x="202" y="60"/>
                  </a:lnTo>
                  <a:lnTo>
                    <a:pt x="203" y="72"/>
                  </a:lnTo>
                  <a:lnTo>
                    <a:pt x="198" y="77"/>
                  </a:lnTo>
                  <a:lnTo>
                    <a:pt x="188" y="78"/>
                  </a:lnTo>
                  <a:lnTo>
                    <a:pt x="177" y="82"/>
                  </a:lnTo>
                  <a:lnTo>
                    <a:pt x="173" y="88"/>
                  </a:lnTo>
                  <a:lnTo>
                    <a:pt x="183" y="93"/>
                  </a:lnTo>
                  <a:lnTo>
                    <a:pt x="182" y="101"/>
                  </a:lnTo>
                  <a:lnTo>
                    <a:pt x="184" y="111"/>
                  </a:lnTo>
                  <a:lnTo>
                    <a:pt x="186" y="119"/>
                  </a:lnTo>
                  <a:lnTo>
                    <a:pt x="188" y="128"/>
                  </a:lnTo>
                  <a:lnTo>
                    <a:pt x="190" y="134"/>
                  </a:lnTo>
                  <a:lnTo>
                    <a:pt x="201" y="134"/>
                  </a:lnTo>
                  <a:lnTo>
                    <a:pt x="207" y="137"/>
                  </a:lnTo>
                  <a:lnTo>
                    <a:pt x="206" y="146"/>
                  </a:lnTo>
                  <a:lnTo>
                    <a:pt x="215" y="148"/>
                  </a:lnTo>
                  <a:lnTo>
                    <a:pt x="227" y="143"/>
                  </a:lnTo>
                  <a:lnTo>
                    <a:pt x="238" y="130"/>
                  </a:lnTo>
                  <a:lnTo>
                    <a:pt x="239" y="139"/>
                  </a:lnTo>
                  <a:lnTo>
                    <a:pt x="250" y="137"/>
                  </a:lnTo>
                  <a:lnTo>
                    <a:pt x="258" y="141"/>
                  </a:lnTo>
                  <a:lnTo>
                    <a:pt x="263" y="146"/>
                  </a:lnTo>
                  <a:lnTo>
                    <a:pt x="273" y="147"/>
                  </a:lnTo>
                  <a:lnTo>
                    <a:pt x="274" y="154"/>
                  </a:lnTo>
                  <a:lnTo>
                    <a:pt x="275" y="161"/>
                  </a:lnTo>
                  <a:lnTo>
                    <a:pt x="281" y="164"/>
                  </a:lnTo>
                  <a:lnTo>
                    <a:pt x="278" y="171"/>
                  </a:lnTo>
                  <a:lnTo>
                    <a:pt x="269" y="176"/>
                  </a:lnTo>
                  <a:lnTo>
                    <a:pt x="262" y="181"/>
                  </a:lnTo>
                  <a:lnTo>
                    <a:pt x="257" y="189"/>
                  </a:lnTo>
                  <a:lnTo>
                    <a:pt x="252" y="196"/>
                  </a:lnTo>
                  <a:lnTo>
                    <a:pt x="241" y="195"/>
                  </a:lnTo>
                  <a:lnTo>
                    <a:pt x="233" y="199"/>
                  </a:lnTo>
                  <a:lnTo>
                    <a:pt x="223" y="200"/>
                  </a:lnTo>
                  <a:lnTo>
                    <a:pt x="213" y="199"/>
                  </a:lnTo>
                  <a:lnTo>
                    <a:pt x="203" y="200"/>
                  </a:lnTo>
                  <a:lnTo>
                    <a:pt x="202" y="206"/>
                  </a:lnTo>
                  <a:lnTo>
                    <a:pt x="202" y="215"/>
                  </a:lnTo>
                  <a:lnTo>
                    <a:pt x="191" y="216"/>
                  </a:lnTo>
                  <a:lnTo>
                    <a:pt x="188" y="223"/>
                  </a:lnTo>
                  <a:lnTo>
                    <a:pt x="179" y="231"/>
                  </a:lnTo>
                  <a:lnTo>
                    <a:pt x="166" y="237"/>
                  </a:lnTo>
                  <a:lnTo>
                    <a:pt x="165" y="248"/>
                  </a:lnTo>
                  <a:lnTo>
                    <a:pt x="158" y="253"/>
                  </a:lnTo>
                  <a:lnTo>
                    <a:pt x="148" y="248"/>
                  </a:lnTo>
                  <a:lnTo>
                    <a:pt x="136" y="251"/>
                  </a:lnTo>
                  <a:lnTo>
                    <a:pt x="131" y="266"/>
                  </a:lnTo>
                  <a:lnTo>
                    <a:pt x="125" y="279"/>
                  </a:lnTo>
                  <a:lnTo>
                    <a:pt x="109" y="307"/>
                  </a:lnTo>
                  <a:lnTo>
                    <a:pt x="25" y="311"/>
                  </a:lnTo>
                  <a:lnTo>
                    <a:pt x="18" y="299"/>
                  </a:lnTo>
                  <a:lnTo>
                    <a:pt x="6" y="284"/>
                  </a:lnTo>
                  <a:lnTo>
                    <a:pt x="3" y="274"/>
                  </a:lnTo>
                  <a:lnTo>
                    <a:pt x="0" y="255"/>
                  </a:lnTo>
                  <a:lnTo>
                    <a:pt x="2" y="241"/>
                  </a:lnTo>
                  <a:lnTo>
                    <a:pt x="7" y="226"/>
                  </a:lnTo>
                  <a:lnTo>
                    <a:pt x="14" y="215"/>
                  </a:lnTo>
                  <a:lnTo>
                    <a:pt x="14" y="202"/>
                  </a:lnTo>
                  <a:lnTo>
                    <a:pt x="17" y="188"/>
                  </a:lnTo>
                  <a:lnTo>
                    <a:pt x="26" y="170"/>
                  </a:lnTo>
                  <a:lnTo>
                    <a:pt x="34" y="163"/>
                  </a:lnTo>
                  <a:lnTo>
                    <a:pt x="43" y="157"/>
                  </a:lnTo>
                  <a:lnTo>
                    <a:pt x="45" y="147"/>
                  </a:lnTo>
                  <a:lnTo>
                    <a:pt x="46" y="134"/>
                  </a:lnTo>
                  <a:lnTo>
                    <a:pt x="45" y="126"/>
                  </a:lnTo>
                  <a:lnTo>
                    <a:pt x="37" y="121"/>
                  </a:lnTo>
                  <a:lnTo>
                    <a:pt x="26" y="116"/>
                  </a:lnTo>
                  <a:lnTo>
                    <a:pt x="19" y="107"/>
                  </a:lnTo>
                  <a:lnTo>
                    <a:pt x="15" y="96"/>
                  </a:lnTo>
                  <a:lnTo>
                    <a:pt x="9" y="85"/>
                  </a:lnTo>
                  <a:lnTo>
                    <a:pt x="17" y="81"/>
                  </a:lnTo>
                  <a:lnTo>
                    <a:pt x="18" y="72"/>
                  </a:lnTo>
                  <a:lnTo>
                    <a:pt x="27" y="67"/>
                  </a:lnTo>
                  <a:lnTo>
                    <a:pt x="31" y="59"/>
                  </a:lnTo>
                  <a:lnTo>
                    <a:pt x="35" y="54"/>
                  </a:lnTo>
                  <a:lnTo>
                    <a:pt x="45" y="47"/>
                  </a:lnTo>
                  <a:lnTo>
                    <a:pt x="44" y="36"/>
                  </a:lnTo>
                  <a:lnTo>
                    <a:pt x="54" y="29"/>
                  </a:lnTo>
                  <a:lnTo>
                    <a:pt x="59" y="24"/>
                  </a:lnTo>
                  <a:lnTo>
                    <a:pt x="61" y="16"/>
                  </a:lnTo>
                  <a:lnTo>
                    <a:pt x="70" y="10"/>
                  </a:lnTo>
                  <a:lnTo>
                    <a:pt x="79" y="6"/>
                  </a:lnTo>
                  <a:lnTo>
                    <a:pt x="87" y="3"/>
                  </a:lnTo>
                  <a:lnTo>
                    <a:pt x="100" y="0"/>
                  </a:lnTo>
                  <a:lnTo>
                    <a:pt x="112" y="1"/>
                  </a:lnTo>
                  <a:lnTo>
                    <a:pt x="122" y="3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B1D71DBB-72BD-4281-B72B-7480C7B9F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" y="1385"/>
              <a:ext cx="532" cy="500"/>
            </a:xfrm>
            <a:custGeom>
              <a:avLst/>
              <a:gdLst>
                <a:gd name="T0" fmla="*/ 532 w 532"/>
                <a:gd name="T1" fmla="*/ 257 h 500"/>
                <a:gd name="T2" fmla="*/ 507 w 532"/>
                <a:gd name="T3" fmla="*/ 281 h 500"/>
                <a:gd name="T4" fmla="*/ 477 w 532"/>
                <a:gd name="T5" fmla="*/ 306 h 500"/>
                <a:gd name="T6" fmla="*/ 448 w 532"/>
                <a:gd name="T7" fmla="*/ 327 h 500"/>
                <a:gd name="T8" fmla="*/ 442 w 532"/>
                <a:gd name="T9" fmla="*/ 361 h 500"/>
                <a:gd name="T10" fmla="*/ 416 w 532"/>
                <a:gd name="T11" fmla="*/ 396 h 500"/>
                <a:gd name="T12" fmla="*/ 423 w 532"/>
                <a:gd name="T13" fmla="*/ 420 h 500"/>
                <a:gd name="T14" fmla="*/ 418 w 532"/>
                <a:gd name="T15" fmla="*/ 454 h 500"/>
                <a:gd name="T16" fmla="*/ 382 w 532"/>
                <a:gd name="T17" fmla="*/ 459 h 500"/>
                <a:gd name="T18" fmla="*/ 340 w 532"/>
                <a:gd name="T19" fmla="*/ 470 h 500"/>
                <a:gd name="T20" fmla="*/ 312 w 532"/>
                <a:gd name="T21" fmla="*/ 500 h 500"/>
                <a:gd name="T22" fmla="*/ 281 w 532"/>
                <a:gd name="T23" fmla="*/ 468 h 500"/>
                <a:gd name="T24" fmla="*/ 255 w 532"/>
                <a:gd name="T25" fmla="*/ 472 h 500"/>
                <a:gd name="T26" fmla="*/ 234 w 532"/>
                <a:gd name="T27" fmla="*/ 491 h 500"/>
                <a:gd name="T28" fmla="*/ 198 w 532"/>
                <a:gd name="T29" fmla="*/ 500 h 500"/>
                <a:gd name="T30" fmla="*/ 177 w 532"/>
                <a:gd name="T31" fmla="*/ 477 h 500"/>
                <a:gd name="T32" fmla="*/ 173 w 532"/>
                <a:gd name="T33" fmla="*/ 438 h 500"/>
                <a:gd name="T34" fmla="*/ 150 w 532"/>
                <a:gd name="T35" fmla="*/ 414 h 500"/>
                <a:gd name="T36" fmla="*/ 113 w 532"/>
                <a:gd name="T37" fmla="*/ 400 h 500"/>
                <a:gd name="T38" fmla="*/ 72 w 532"/>
                <a:gd name="T39" fmla="*/ 389 h 500"/>
                <a:gd name="T40" fmla="*/ 66 w 532"/>
                <a:gd name="T41" fmla="*/ 357 h 500"/>
                <a:gd name="T42" fmla="*/ 39 w 532"/>
                <a:gd name="T43" fmla="*/ 333 h 500"/>
                <a:gd name="T44" fmla="*/ 49 w 532"/>
                <a:gd name="T45" fmla="*/ 302 h 500"/>
                <a:gd name="T46" fmla="*/ 70 w 532"/>
                <a:gd name="T47" fmla="*/ 275 h 500"/>
                <a:gd name="T48" fmla="*/ 105 w 532"/>
                <a:gd name="T49" fmla="*/ 261 h 500"/>
                <a:gd name="T50" fmla="*/ 76 w 532"/>
                <a:gd name="T51" fmla="*/ 231 h 500"/>
                <a:gd name="T52" fmla="*/ 7 w 532"/>
                <a:gd name="T53" fmla="*/ 154 h 500"/>
                <a:gd name="T54" fmla="*/ 29 w 532"/>
                <a:gd name="T55" fmla="*/ 126 h 500"/>
                <a:gd name="T56" fmla="*/ 49 w 532"/>
                <a:gd name="T57" fmla="*/ 145 h 500"/>
                <a:gd name="T58" fmla="*/ 61 w 532"/>
                <a:gd name="T59" fmla="*/ 106 h 500"/>
                <a:gd name="T60" fmla="*/ 49 w 532"/>
                <a:gd name="T61" fmla="*/ 61 h 500"/>
                <a:gd name="T62" fmla="*/ 44 w 532"/>
                <a:gd name="T63" fmla="*/ 38 h 500"/>
                <a:gd name="T64" fmla="*/ 76 w 532"/>
                <a:gd name="T65" fmla="*/ 23 h 500"/>
                <a:gd name="T66" fmla="*/ 111 w 532"/>
                <a:gd name="T67" fmla="*/ 0 h 500"/>
                <a:gd name="T68" fmla="*/ 139 w 532"/>
                <a:gd name="T69" fmla="*/ 36 h 500"/>
                <a:gd name="T70" fmla="*/ 145 w 532"/>
                <a:gd name="T71" fmla="*/ 71 h 500"/>
                <a:gd name="T72" fmla="*/ 116 w 532"/>
                <a:gd name="T73" fmla="*/ 116 h 500"/>
                <a:gd name="T74" fmla="*/ 102 w 532"/>
                <a:gd name="T75" fmla="*/ 169 h 500"/>
                <a:gd name="T76" fmla="*/ 127 w 532"/>
                <a:gd name="T77" fmla="*/ 224 h 500"/>
                <a:gd name="T78" fmla="*/ 239 w 532"/>
                <a:gd name="T79" fmla="*/ 164 h 500"/>
                <a:gd name="T80" fmla="*/ 269 w 532"/>
                <a:gd name="T81" fmla="*/ 151 h 500"/>
                <a:gd name="T82" fmla="*/ 305 w 532"/>
                <a:gd name="T83" fmla="*/ 128 h 500"/>
                <a:gd name="T84" fmla="*/ 327 w 532"/>
                <a:gd name="T85" fmla="*/ 114 h 500"/>
                <a:gd name="T86" fmla="*/ 360 w 532"/>
                <a:gd name="T87" fmla="*/ 103 h 500"/>
                <a:gd name="T88" fmla="*/ 400 w 532"/>
                <a:gd name="T89" fmla="*/ 108 h 500"/>
                <a:gd name="T90" fmla="*/ 420 w 532"/>
                <a:gd name="T91" fmla="*/ 147 h 500"/>
                <a:gd name="T92" fmla="*/ 417 w 532"/>
                <a:gd name="T93" fmla="*/ 171 h 500"/>
                <a:gd name="T94" fmla="*/ 417 w 532"/>
                <a:gd name="T95" fmla="*/ 204 h 500"/>
                <a:gd name="T96" fmla="*/ 441 w 532"/>
                <a:gd name="T97" fmla="*/ 201 h 500"/>
                <a:gd name="T98" fmla="*/ 443 w 532"/>
                <a:gd name="T99" fmla="*/ 218 h 500"/>
                <a:gd name="T100" fmla="*/ 452 w 532"/>
                <a:gd name="T101" fmla="*/ 250 h 500"/>
                <a:gd name="T102" fmla="*/ 512 w 532"/>
                <a:gd name="T103" fmla="*/ 23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32" h="500">
                  <a:moveTo>
                    <a:pt x="521" y="230"/>
                  </a:moveTo>
                  <a:lnTo>
                    <a:pt x="521" y="240"/>
                  </a:lnTo>
                  <a:lnTo>
                    <a:pt x="526" y="250"/>
                  </a:lnTo>
                  <a:lnTo>
                    <a:pt x="532" y="257"/>
                  </a:lnTo>
                  <a:lnTo>
                    <a:pt x="529" y="264"/>
                  </a:lnTo>
                  <a:lnTo>
                    <a:pt x="521" y="271"/>
                  </a:lnTo>
                  <a:lnTo>
                    <a:pt x="509" y="274"/>
                  </a:lnTo>
                  <a:lnTo>
                    <a:pt x="507" y="281"/>
                  </a:lnTo>
                  <a:lnTo>
                    <a:pt x="499" y="285"/>
                  </a:lnTo>
                  <a:lnTo>
                    <a:pt x="494" y="295"/>
                  </a:lnTo>
                  <a:lnTo>
                    <a:pt x="488" y="304"/>
                  </a:lnTo>
                  <a:lnTo>
                    <a:pt x="477" y="306"/>
                  </a:lnTo>
                  <a:lnTo>
                    <a:pt x="468" y="311"/>
                  </a:lnTo>
                  <a:lnTo>
                    <a:pt x="465" y="319"/>
                  </a:lnTo>
                  <a:lnTo>
                    <a:pt x="453" y="322"/>
                  </a:lnTo>
                  <a:lnTo>
                    <a:pt x="448" y="327"/>
                  </a:lnTo>
                  <a:lnTo>
                    <a:pt x="446" y="336"/>
                  </a:lnTo>
                  <a:lnTo>
                    <a:pt x="447" y="346"/>
                  </a:lnTo>
                  <a:lnTo>
                    <a:pt x="449" y="355"/>
                  </a:lnTo>
                  <a:lnTo>
                    <a:pt x="442" y="361"/>
                  </a:lnTo>
                  <a:lnTo>
                    <a:pt x="437" y="369"/>
                  </a:lnTo>
                  <a:lnTo>
                    <a:pt x="427" y="379"/>
                  </a:lnTo>
                  <a:lnTo>
                    <a:pt x="418" y="389"/>
                  </a:lnTo>
                  <a:lnTo>
                    <a:pt x="416" y="396"/>
                  </a:lnTo>
                  <a:lnTo>
                    <a:pt x="420" y="405"/>
                  </a:lnTo>
                  <a:lnTo>
                    <a:pt x="427" y="406"/>
                  </a:lnTo>
                  <a:lnTo>
                    <a:pt x="427" y="414"/>
                  </a:lnTo>
                  <a:lnTo>
                    <a:pt x="423" y="420"/>
                  </a:lnTo>
                  <a:lnTo>
                    <a:pt x="419" y="428"/>
                  </a:lnTo>
                  <a:lnTo>
                    <a:pt x="414" y="435"/>
                  </a:lnTo>
                  <a:lnTo>
                    <a:pt x="416" y="444"/>
                  </a:lnTo>
                  <a:lnTo>
                    <a:pt x="418" y="454"/>
                  </a:lnTo>
                  <a:lnTo>
                    <a:pt x="408" y="452"/>
                  </a:lnTo>
                  <a:lnTo>
                    <a:pt x="400" y="454"/>
                  </a:lnTo>
                  <a:lnTo>
                    <a:pt x="393" y="462"/>
                  </a:lnTo>
                  <a:lnTo>
                    <a:pt x="382" y="459"/>
                  </a:lnTo>
                  <a:lnTo>
                    <a:pt x="371" y="456"/>
                  </a:lnTo>
                  <a:lnTo>
                    <a:pt x="362" y="460"/>
                  </a:lnTo>
                  <a:lnTo>
                    <a:pt x="349" y="467"/>
                  </a:lnTo>
                  <a:lnTo>
                    <a:pt x="340" y="470"/>
                  </a:lnTo>
                  <a:lnTo>
                    <a:pt x="340" y="478"/>
                  </a:lnTo>
                  <a:lnTo>
                    <a:pt x="334" y="486"/>
                  </a:lnTo>
                  <a:lnTo>
                    <a:pt x="318" y="492"/>
                  </a:lnTo>
                  <a:lnTo>
                    <a:pt x="312" y="500"/>
                  </a:lnTo>
                  <a:lnTo>
                    <a:pt x="302" y="496"/>
                  </a:lnTo>
                  <a:lnTo>
                    <a:pt x="295" y="475"/>
                  </a:lnTo>
                  <a:lnTo>
                    <a:pt x="288" y="465"/>
                  </a:lnTo>
                  <a:lnTo>
                    <a:pt x="281" y="468"/>
                  </a:lnTo>
                  <a:lnTo>
                    <a:pt x="271" y="472"/>
                  </a:lnTo>
                  <a:lnTo>
                    <a:pt x="265" y="465"/>
                  </a:lnTo>
                  <a:lnTo>
                    <a:pt x="253" y="462"/>
                  </a:lnTo>
                  <a:lnTo>
                    <a:pt x="255" y="472"/>
                  </a:lnTo>
                  <a:lnTo>
                    <a:pt x="258" y="484"/>
                  </a:lnTo>
                  <a:lnTo>
                    <a:pt x="251" y="492"/>
                  </a:lnTo>
                  <a:lnTo>
                    <a:pt x="242" y="490"/>
                  </a:lnTo>
                  <a:lnTo>
                    <a:pt x="234" y="491"/>
                  </a:lnTo>
                  <a:lnTo>
                    <a:pt x="227" y="496"/>
                  </a:lnTo>
                  <a:lnTo>
                    <a:pt x="222" y="499"/>
                  </a:lnTo>
                  <a:lnTo>
                    <a:pt x="212" y="500"/>
                  </a:lnTo>
                  <a:lnTo>
                    <a:pt x="198" y="500"/>
                  </a:lnTo>
                  <a:lnTo>
                    <a:pt x="188" y="496"/>
                  </a:lnTo>
                  <a:lnTo>
                    <a:pt x="187" y="490"/>
                  </a:lnTo>
                  <a:lnTo>
                    <a:pt x="182" y="485"/>
                  </a:lnTo>
                  <a:lnTo>
                    <a:pt x="177" y="477"/>
                  </a:lnTo>
                  <a:lnTo>
                    <a:pt x="179" y="467"/>
                  </a:lnTo>
                  <a:lnTo>
                    <a:pt x="174" y="460"/>
                  </a:lnTo>
                  <a:lnTo>
                    <a:pt x="168" y="450"/>
                  </a:lnTo>
                  <a:lnTo>
                    <a:pt x="173" y="438"/>
                  </a:lnTo>
                  <a:lnTo>
                    <a:pt x="174" y="430"/>
                  </a:lnTo>
                  <a:lnTo>
                    <a:pt x="170" y="423"/>
                  </a:lnTo>
                  <a:lnTo>
                    <a:pt x="156" y="424"/>
                  </a:lnTo>
                  <a:lnTo>
                    <a:pt x="150" y="414"/>
                  </a:lnTo>
                  <a:lnTo>
                    <a:pt x="151" y="403"/>
                  </a:lnTo>
                  <a:lnTo>
                    <a:pt x="147" y="396"/>
                  </a:lnTo>
                  <a:lnTo>
                    <a:pt x="133" y="396"/>
                  </a:lnTo>
                  <a:lnTo>
                    <a:pt x="113" y="400"/>
                  </a:lnTo>
                  <a:lnTo>
                    <a:pt x="100" y="403"/>
                  </a:lnTo>
                  <a:lnTo>
                    <a:pt x="86" y="404"/>
                  </a:lnTo>
                  <a:lnTo>
                    <a:pt x="75" y="399"/>
                  </a:lnTo>
                  <a:lnTo>
                    <a:pt x="72" y="389"/>
                  </a:lnTo>
                  <a:lnTo>
                    <a:pt x="63" y="385"/>
                  </a:lnTo>
                  <a:lnTo>
                    <a:pt x="62" y="376"/>
                  </a:lnTo>
                  <a:lnTo>
                    <a:pt x="62" y="367"/>
                  </a:lnTo>
                  <a:lnTo>
                    <a:pt x="66" y="357"/>
                  </a:lnTo>
                  <a:lnTo>
                    <a:pt x="58" y="352"/>
                  </a:lnTo>
                  <a:lnTo>
                    <a:pt x="50" y="345"/>
                  </a:lnTo>
                  <a:lnTo>
                    <a:pt x="46" y="337"/>
                  </a:lnTo>
                  <a:lnTo>
                    <a:pt x="39" y="333"/>
                  </a:lnTo>
                  <a:lnTo>
                    <a:pt x="38" y="324"/>
                  </a:lnTo>
                  <a:lnTo>
                    <a:pt x="31" y="317"/>
                  </a:lnTo>
                  <a:lnTo>
                    <a:pt x="31" y="309"/>
                  </a:lnTo>
                  <a:lnTo>
                    <a:pt x="49" y="302"/>
                  </a:lnTo>
                  <a:lnTo>
                    <a:pt x="57" y="298"/>
                  </a:lnTo>
                  <a:lnTo>
                    <a:pt x="56" y="288"/>
                  </a:lnTo>
                  <a:lnTo>
                    <a:pt x="55" y="278"/>
                  </a:lnTo>
                  <a:lnTo>
                    <a:pt x="70" y="275"/>
                  </a:lnTo>
                  <a:lnTo>
                    <a:pt x="81" y="277"/>
                  </a:lnTo>
                  <a:lnTo>
                    <a:pt x="91" y="280"/>
                  </a:lnTo>
                  <a:lnTo>
                    <a:pt x="100" y="278"/>
                  </a:lnTo>
                  <a:lnTo>
                    <a:pt x="105" y="261"/>
                  </a:lnTo>
                  <a:lnTo>
                    <a:pt x="103" y="249"/>
                  </a:lnTo>
                  <a:lnTo>
                    <a:pt x="98" y="239"/>
                  </a:lnTo>
                  <a:lnTo>
                    <a:pt x="89" y="232"/>
                  </a:lnTo>
                  <a:lnTo>
                    <a:pt x="76" y="231"/>
                  </a:lnTo>
                  <a:lnTo>
                    <a:pt x="51" y="201"/>
                  </a:lnTo>
                  <a:lnTo>
                    <a:pt x="9" y="170"/>
                  </a:lnTo>
                  <a:lnTo>
                    <a:pt x="0" y="159"/>
                  </a:lnTo>
                  <a:lnTo>
                    <a:pt x="7" y="154"/>
                  </a:lnTo>
                  <a:lnTo>
                    <a:pt x="15" y="148"/>
                  </a:lnTo>
                  <a:lnTo>
                    <a:pt x="17" y="138"/>
                  </a:lnTo>
                  <a:lnTo>
                    <a:pt x="19" y="130"/>
                  </a:lnTo>
                  <a:lnTo>
                    <a:pt x="29" y="126"/>
                  </a:lnTo>
                  <a:lnTo>
                    <a:pt x="34" y="132"/>
                  </a:lnTo>
                  <a:lnTo>
                    <a:pt x="33" y="138"/>
                  </a:lnTo>
                  <a:lnTo>
                    <a:pt x="35" y="142"/>
                  </a:lnTo>
                  <a:lnTo>
                    <a:pt x="49" y="145"/>
                  </a:lnTo>
                  <a:lnTo>
                    <a:pt x="59" y="141"/>
                  </a:lnTo>
                  <a:lnTo>
                    <a:pt x="63" y="130"/>
                  </a:lnTo>
                  <a:lnTo>
                    <a:pt x="61" y="115"/>
                  </a:lnTo>
                  <a:lnTo>
                    <a:pt x="61" y="106"/>
                  </a:lnTo>
                  <a:lnTo>
                    <a:pt x="56" y="96"/>
                  </a:lnTo>
                  <a:lnTo>
                    <a:pt x="57" y="85"/>
                  </a:lnTo>
                  <a:lnTo>
                    <a:pt x="59" y="73"/>
                  </a:lnTo>
                  <a:lnTo>
                    <a:pt x="49" y="61"/>
                  </a:lnTo>
                  <a:lnTo>
                    <a:pt x="39" y="57"/>
                  </a:lnTo>
                  <a:lnTo>
                    <a:pt x="28" y="47"/>
                  </a:lnTo>
                  <a:lnTo>
                    <a:pt x="34" y="40"/>
                  </a:lnTo>
                  <a:lnTo>
                    <a:pt x="44" y="38"/>
                  </a:lnTo>
                  <a:lnTo>
                    <a:pt x="59" y="35"/>
                  </a:lnTo>
                  <a:lnTo>
                    <a:pt x="67" y="36"/>
                  </a:lnTo>
                  <a:lnTo>
                    <a:pt x="69" y="29"/>
                  </a:lnTo>
                  <a:lnTo>
                    <a:pt x="76" y="23"/>
                  </a:lnTo>
                  <a:lnTo>
                    <a:pt x="87" y="16"/>
                  </a:lnTo>
                  <a:lnTo>
                    <a:pt x="96" y="10"/>
                  </a:lnTo>
                  <a:lnTo>
                    <a:pt x="104" y="6"/>
                  </a:lnTo>
                  <a:lnTo>
                    <a:pt x="111" y="0"/>
                  </a:lnTo>
                  <a:lnTo>
                    <a:pt x="117" y="11"/>
                  </a:lnTo>
                  <a:lnTo>
                    <a:pt x="121" y="22"/>
                  </a:lnTo>
                  <a:lnTo>
                    <a:pt x="128" y="30"/>
                  </a:lnTo>
                  <a:lnTo>
                    <a:pt x="139" y="36"/>
                  </a:lnTo>
                  <a:lnTo>
                    <a:pt x="147" y="41"/>
                  </a:lnTo>
                  <a:lnTo>
                    <a:pt x="149" y="48"/>
                  </a:lnTo>
                  <a:lnTo>
                    <a:pt x="147" y="61"/>
                  </a:lnTo>
                  <a:lnTo>
                    <a:pt x="145" y="71"/>
                  </a:lnTo>
                  <a:lnTo>
                    <a:pt x="137" y="77"/>
                  </a:lnTo>
                  <a:lnTo>
                    <a:pt x="128" y="84"/>
                  </a:lnTo>
                  <a:lnTo>
                    <a:pt x="118" y="102"/>
                  </a:lnTo>
                  <a:lnTo>
                    <a:pt x="116" y="116"/>
                  </a:lnTo>
                  <a:lnTo>
                    <a:pt x="116" y="128"/>
                  </a:lnTo>
                  <a:lnTo>
                    <a:pt x="109" y="140"/>
                  </a:lnTo>
                  <a:lnTo>
                    <a:pt x="104" y="154"/>
                  </a:lnTo>
                  <a:lnTo>
                    <a:pt x="102" y="169"/>
                  </a:lnTo>
                  <a:lnTo>
                    <a:pt x="105" y="187"/>
                  </a:lnTo>
                  <a:lnTo>
                    <a:pt x="108" y="197"/>
                  </a:lnTo>
                  <a:lnTo>
                    <a:pt x="120" y="212"/>
                  </a:lnTo>
                  <a:lnTo>
                    <a:pt x="127" y="224"/>
                  </a:lnTo>
                  <a:lnTo>
                    <a:pt x="211" y="220"/>
                  </a:lnTo>
                  <a:lnTo>
                    <a:pt x="228" y="193"/>
                  </a:lnTo>
                  <a:lnTo>
                    <a:pt x="234" y="179"/>
                  </a:lnTo>
                  <a:lnTo>
                    <a:pt x="239" y="164"/>
                  </a:lnTo>
                  <a:lnTo>
                    <a:pt x="251" y="161"/>
                  </a:lnTo>
                  <a:lnTo>
                    <a:pt x="261" y="166"/>
                  </a:lnTo>
                  <a:lnTo>
                    <a:pt x="268" y="161"/>
                  </a:lnTo>
                  <a:lnTo>
                    <a:pt x="269" y="151"/>
                  </a:lnTo>
                  <a:lnTo>
                    <a:pt x="282" y="145"/>
                  </a:lnTo>
                  <a:lnTo>
                    <a:pt x="291" y="137"/>
                  </a:lnTo>
                  <a:lnTo>
                    <a:pt x="294" y="130"/>
                  </a:lnTo>
                  <a:lnTo>
                    <a:pt x="305" y="128"/>
                  </a:lnTo>
                  <a:lnTo>
                    <a:pt x="305" y="120"/>
                  </a:lnTo>
                  <a:lnTo>
                    <a:pt x="306" y="114"/>
                  </a:lnTo>
                  <a:lnTo>
                    <a:pt x="316" y="113"/>
                  </a:lnTo>
                  <a:lnTo>
                    <a:pt x="327" y="114"/>
                  </a:lnTo>
                  <a:lnTo>
                    <a:pt x="336" y="113"/>
                  </a:lnTo>
                  <a:lnTo>
                    <a:pt x="345" y="109"/>
                  </a:lnTo>
                  <a:lnTo>
                    <a:pt x="356" y="110"/>
                  </a:lnTo>
                  <a:lnTo>
                    <a:pt x="360" y="103"/>
                  </a:lnTo>
                  <a:lnTo>
                    <a:pt x="365" y="95"/>
                  </a:lnTo>
                  <a:lnTo>
                    <a:pt x="372" y="90"/>
                  </a:lnTo>
                  <a:lnTo>
                    <a:pt x="388" y="102"/>
                  </a:lnTo>
                  <a:lnTo>
                    <a:pt x="400" y="108"/>
                  </a:lnTo>
                  <a:lnTo>
                    <a:pt x="411" y="116"/>
                  </a:lnTo>
                  <a:lnTo>
                    <a:pt x="419" y="126"/>
                  </a:lnTo>
                  <a:lnTo>
                    <a:pt x="422" y="135"/>
                  </a:lnTo>
                  <a:lnTo>
                    <a:pt x="420" y="147"/>
                  </a:lnTo>
                  <a:lnTo>
                    <a:pt x="427" y="152"/>
                  </a:lnTo>
                  <a:lnTo>
                    <a:pt x="434" y="158"/>
                  </a:lnTo>
                  <a:lnTo>
                    <a:pt x="429" y="168"/>
                  </a:lnTo>
                  <a:lnTo>
                    <a:pt x="417" y="171"/>
                  </a:lnTo>
                  <a:lnTo>
                    <a:pt x="417" y="179"/>
                  </a:lnTo>
                  <a:lnTo>
                    <a:pt x="414" y="187"/>
                  </a:lnTo>
                  <a:lnTo>
                    <a:pt x="413" y="196"/>
                  </a:lnTo>
                  <a:lnTo>
                    <a:pt x="417" y="204"/>
                  </a:lnTo>
                  <a:lnTo>
                    <a:pt x="422" y="209"/>
                  </a:lnTo>
                  <a:lnTo>
                    <a:pt x="430" y="215"/>
                  </a:lnTo>
                  <a:lnTo>
                    <a:pt x="437" y="211"/>
                  </a:lnTo>
                  <a:lnTo>
                    <a:pt x="441" y="201"/>
                  </a:lnTo>
                  <a:lnTo>
                    <a:pt x="444" y="194"/>
                  </a:lnTo>
                  <a:lnTo>
                    <a:pt x="453" y="203"/>
                  </a:lnTo>
                  <a:lnTo>
                    <a:pt x="452" y="209"/>
                  </a:lnTo>
                  <a:lnTo>
                    <a:pt x="443" y="218"/>
                  </a:lnTo>
                  <a:lnTo>
                    <a:pt x="448" y="226"/>
                  </a:lnTo>
                  <a:lnTo>
                    <a:pt x="444" y="233"/>
                  </a:lnTo>
                  <a:lnTo>
                    <a:pt x="447" y="243"/>
                  </a:lnTo>
                  <a:lnTo>
                    <a:pt x="452" y="250"/>
                  </a:lnTo>
                  <a:lnTo>
                    <a:pt x="452" y="261"/>
                  </a:lnTo>
                  <a:lnTo>
                    <a:pt x="460" y="264"/>
                  </a:lnTo>
                  <a:lnTo>
                    <a:pt x="471" y="264"/>
                  </a:lnTo>
                  <a:lnTo>
                    <a:pt x="512" y="230"/>
                  </a:lnTo>
                  <a:lnTo>
                    <a:pt x="519" y="219"/>
                  </a:lnTo>
                  <a:lnTo>
                    <a:pt x="521" y="230"/>
                  </a:lnTo>
                  <a:close/>
                </a:path>
              </a:pathLst>
            </a:custGeom>
            <a:solidFill>
              <a:srgbClr val="2E7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B20CF122-D22B-44E4-86A3-F1F790E3E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" y="1385"/>
              <a:ext cx="532" cy="500"/>
            </a:xfrm>
            <a:custGeom>
              <a:avLst/>
              <a:gdLst>
                <a:gd name="T0" fmla="*/ 532 w 532"/>
                <a:gd name="T1" fmla="*/ 257 h 500"/>
                <a:gd name="T2" fmla="*/ 507 w 532"/>
                <a:gd name="T3" fmla="*/ 281 h 500"/>
                <a:gd name="T4" fmla="*/ 477 w 532"/>
                <a:gd name="T5" fmla="*/ 306 h 500"/>
                <a:gd name="T6" fmla="*/ 448 w 532"/>
                <a:gd name="T7" fmla="*/ 327 h 500"/>
                <a:gd name="T8" fmla="*/ 442 w 532"/>
                <a:gd name="T9" fmla="*/ 361 h 500"/>
                <a:gd name="T10" fmla="*/ 416 w 532"/>
                <a:gd name="T11" fmla="*/ 396 h 500"/>
                <a:gd name="T12" fmla="*/ 423 w 532"/>
                <a:gd name="T13" fmla="*/ 420 h 500"/>
                <a:gd name="T14" fmla="*/ 418 w 532"/>
                <a:gd name="T15" fmla="*/ 454 h 500"/>
                <a:gd name="T16" fmla="*/ 382 w 532"/>
                <a:gd name="T17" fmla="*/ 459 h 500"/>
                <a:gd name="T18" fmla="*/ 340 w 532"/>
                <a:gd name="T19" fmla="*/ 470 h 500"/>
                <a:gd name="T20" fmla="*/ 312 w 532"/>
                <a:gd name="T21" fmla="*/ 500 h 500"/>
                <a:gd name="T22" fmla="*/ 281 w 532"/>
                <a:gd name="T23" fmla="*/ 468 h 500"/>
                <a:gd name="T24" fmla="*/ 255 w 532"/>
                <a:gd name="T25" fmla="*/ 472 h 500"/>
                <a:gd name="T26" fmla="*/ 234 w 532"/>
                <a:gd name="T27" fmla="*/ 491 h 500"/>
                <a:gd name="T28" fmla="*/ 198 w 532"/>
                <a:gd name="T29" fmla="*/ 500 h 500"/>
                <a:gd name="T30" fmla="*/ 177 w 532"/>
                <a:gd name="T31" fmla="*/ 477 h 500"/>
                <a:gd name="T32" fmla="*/ 173 w 532"/>
                <a:gd name="T33" fmla="*/ 438 h 500"/>
                <a:gd name="T34" fmla="*/ 150 w 532"/>
                <a:gd name="T35" fmla="*/ 414 h 500"/>
                <a:gd name="T36" fmla="*/ 113 w 532"/>
                <a:gd name="T37" fmla="*/ 400 h 500"/>
                <a:gd name="T38" fmla="*/ 72 w 532"/>
                <a:gd name="T39" fmla="*/ 389 h 500"/>
                <a:gd name="T40" fmla="*/ 66 w 532"/>
                <a:gd name="T41" fmla="*/ 357 h 500"/>
                <a:gd name="T42" fmla="*/ 39 w 532"/>
                <a:gd name="T43" fmla="*/ 333 h 500"/>
                <a:gd name="T44" fmla="*/ 49 w 532"/>
                <a:gd name="T45" fmla="*/ 302 h 500"/>
                <a:gd name="T46" fmla="*/ 70 w 532"/>
                <a:gd name="T47" fmla="*/ 275 h 500"/>
                <a:gd name="T48" fmla="*/ 105 w 532"/>
                <a:gd name="T49" fmla="*/ 261 h 500"/>
                <a:gd name="T50" fmla="*/ 76 w 532"/>
                <a:gd name="T51" fmla="*/ 231 h 500"/>
                <a:gd name="T52" fmla="*/ 7 w 532"/>
                <a:gd name="T53" fmla="*/ 154 h 500"/>
                <a:gd name="T54" fmla="*/ 29 w 532"/>
                <a:gd name="T55" fmla="*/ 126 h 500"/>
                <a:gd name="T56" fmla="*/ 49 w 532"/>
                <a:gd name="T57" fmla="*/ 145 h 500"/>
                <a:gd name="T58" fmla="*/ 61 w 532"/>
                <a:gd name="T59" fmla="*/ 106 h 500"/>
                <a:gd name="T60" fmla="*/ 49 w 532"/>
                <a:gd name="T61" fmla="*/ 61 h 500"/>
                <a:gd name="T62" fmla="*/ 44 w 532"/>
                <a:gd name="T63" fmla="*/ 38 h 500"/>
                <a:gd name="T64" fmla="*/ 76 w 532"/>
                <a:gd name="T65" fmla="*/ 23 h 500"/>
                <a:gd name="T66" fmla="*/ 111 w 532"/>
                <a:gd name="T67" fmla="*/ 0 h 500"/>
                <a:gd name="T68" fmla="*/ 139 w 532"/>
                <a:gd name="T69" fmla="*/ 36 h 500"/>
                <a:gd name="T70" fmla="*/ 145 w 532"/>
                <a:gd name="T71" fmla="*/ 71 h 500"/>
                <a:gd name="T72" fmla="*/ 116 w 532"/>
                <a:gd name="T73" fmla="*/ 116 h 500"/>
                <a:gd name="T74" fmla="*/ 102 w 532"/>
                <a:gd name="T75" fmla="*/ 169 h 500"/>
                <a:gd name="T76" fmla="*/ 127 w 532"/>
                <a:gd name="T77" fmla="*/ 224 h 500"/>
                <a:gd name="T78" fmla="*/ 239 w 532"/>
                <a:gd name="T79" fmla="*/ 164 h 500"/>
                <a:gd name="T80" fmla="*/ 269 w 532"/>
                <a:gd name="T81" fmla="*/ 151 h 500"/>
                <a:gd name="T82" fmla="*/ 305 w 532"/>
                <a:gd name="T83" fmla="*/ 128 h 500"/>
                <a:gd name="T84" fmla="*/ 327 w 532"/>
                <a:gd name="T85" fmla="*/ 114 h 500"/>
                <a:gd name="T86" fmla="*/ 360 w 532"/>
                <a:gd name="T87" fmla="*/ 103 h 500"/>
                <a:gd name="T88" fmla="*/ 400 w 532"/>
                <a:gd name="T89" fmla="*/ 108 h 500"/>
                <a:gd name="T90" fmla="*/ 420 w 532"/>
                <a:gd name="T91" fmla="*/ 147 h 500"/>
                <a:gd name="T92" fmla="*/ 417 w 532"/>
                <a:gd name="T93" fmla="*/ 171 h 500"/>
                <a:gd name="T94" fmla="*/ 417 w 532"/>
                <a:gd name="T95" fmla="*/ 204 h 500"/>
                <a:gd name="T96" fmla="*/ 441 w 532"/>
                <a:gd name="T97" fmla="*/ 201 h 500"/>
                <a:gd name="T98" fmla="*/ 443 w 532"/>
                <a:gd name="T99" fmla="*/ 218 h 500"/>
                <a:gd name="T100" fmla="*/ 452 w 532"/>
                <a:gd name="T101" fmla="*/ 250 h 500"/>
                <a:gd name="T102" fmla="*/ 512 w 532"/>
                <a:gd name="T103" fmla="*/ 23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32" h="500">
                  <a:moveTo>
                    <a:pt x="521" y="230"/>
                  </a:moveTo>
                  <a:lnTo>
                    <a:pt x="521" y="240"/>
                  </a:lnTo>
                  <a:lnTo>
                    <a:pt x="526" y="250"/>
                  </a:lnTo>
                  <a:lnTo>
                    <a:pt x="532" y="257"/>
                  </a:lnTo>
                  <a:lnTo>
                    <a:pt x="529" y="264"/>
                  </a:lnTo>
                  <a:lnTo>
                    <a:pt x="521" y="271"/>
                  </a:lnTo>
                  <a:lnTo>
                    <a:pt x="509" y="274"/>
                  </a:lnTo>
                  <a:lnTo>
                    <a:pt x="507" y="281"/>
                  </a:lnTo>
                  <a:lnTo>
                    <a:pt x="499" y="285"/>
                  </a:lnTo>
                  <a:lnTo>
                    <a:pt x="494" y="295"/>
                  </a:lnTo>
                  <a:lnTo>
                    <a:pt x="488" y="304"/>
                  </a:lnTo>
                  <a:lnTo>
                    <a:pt x="477" y="306"/>
                  </a:lnTo>
                  <a:lnTo>
                    <a:pt x="468" y="311"/>
                  </a:lnTo>
                  <a:lnTo>
                    <a:pt x="465" y="319"/>
                  </a:lnTo>
                  <a:lnTo>
                    <a:pt x="453" y="322"/>
                  </a:lnTo>
                  <a:lnTo>
                    <a:pt x="448" y="327"/>
                  </a:lnTo>
                  <a:lnTo>
                    <a:pt x="446" y="336"/>
                  </a:lnTo>
                  <a:lnTo>
                    <a:pt x="447" y="346"/>
                  </a:lnTo>
                  <a:lnTo>
                    <a:pt x="449" y="355"/>
                  </a:lnTo>
                  <a:lnTo>
                    <a:pt x="442" y="361"/>
                  </a:lnTo>
                  <a:lnTo>
                    <a:pt x="437" y="369"/>
                  </a:lnTo>
                  <a:lnTo>
                    <a:pt x="427" y="379"/>
                  </a:lnTo>
                  <a:lnTo>
                    <a:pt x="418" y="389"/>
                  </a:lnTo>
                  <a:lnTo>
                    <a:pt x="416" y="396"/>
                  </a:lnTo>
                  <a:lnTo>
                    <a:pt x="420" y="405"/>
                  </a:lnTo>
                  <a:lnTo>
                    <a:pt x="427" y="406"/>
                  </a:lnTo>
                  <a:lnTo>
                    <a:pt x="427" y="414"/>
                  </a:lnTo>
                  <a:lnTo>
                    <a:pt x="423" y="420"/>
                  </a:lnTo>
                  <a:lnTo>
                    <a:pt x="419" y="428"/>
                  </a:lnTo>
                  <a:lnTo>
                    <a:pt x="414" y="435"/>
                  </a:lnTo>
                  <a:lnTo>
                    <a:pt x="416" y="444"/>
                  </a:lnTo>
                  <a:lnTo>
                    <a:pt x="418" y="454"/>
                  </a:lnTo>
                  <a:lnTo>
                    <a:pt x="408" y="452"/>
                  </a:lnTo>
                  <a:lnTo>
                    <a:pt x="400" y="454"/>
                  </a:lnTo>
                  <a:lnTo>
                    <a:pt x="393" y="462"/>
                  </a:lnTo>
                  <a:lnTo>
                    <a:pt x="382" y="459"/>
                  </a:lnTo>
                  <a:lnTo>
                    <a:pt x="371" y="456"/>
                  </a:lnTo>
                  <a:lnTo>
                    <a:pt x="362" y="460"/>
                  </a:lnTo>
                  <a:lnTo>
                    <a:pt x="349" y="467"/>
                  </a:lnTo>
                  <a:lnTo>
                    <a:pt x="340" y="470"/>
                  </a:lnTo>
                  <a:lnTo>
                    <a:pt x="340" y="478"/>
                  </a:lnTo>
                  <a:lnTo>
                    <a:pt x="334" y="486"/>
                  </a:lnTo>
                  <a:lnTo>
                    <a:pt x="318" y="492"/>
                  </a:lnTo>
                  <a:lnTo>
                    <a:pt x="312" y="500"/>
                  </a:lnTo>
                  <a:lnTo>
                    <a:pt x="302" y="496"/>
                  </a:lnTo>
                  <a:lnTo>
                    <a:pt x="295" y="475"/>
                  </a:lnTo>
                  <a:lnTo>
                    <a:pt x="288" y="465"/>
                  </a:lnTo>
                  <a:lnTo>
                    <a:pt x="281" y="468"/>
                  </a:lnTo>
                  <a:lnTo>
                    <a:pt x="271" y="472"/>
                  </a:lnTo>
                  <a:lnTo>
                    <a:pt x="265" y="465"/>
                  </a:lnTo>
                  <a:lnTo>
                    <a:pt x="253" y="462"/>
                  </a:lnTo>
                  <a:lnTo>
                    <a:pt x="255" y="472"/>
                  </a:lnTo>
                  <a:lnTo>
                    <a:pt x="258" y="484"/>
                  </a:lnTo>
                  <a:lnTo>
                    <a:pt x="251" y="492"/>
                  </a:lnTo>
                  <a:lnTo>
                    <a:pt x="242" y="490"/>
                  </a:lnTo>
                  <a:lnTo>
                    <a:pt x="234" y="491"/>
                  </a:lnTo>
                  <a:lnTo>
                    <a:pt x="227" y="496"/>
                  </a:lnTo>
                  <a:lnTo>
                    <a:pt x="222" y="499"/>
                  </a:lnTo>
                  <a:lnTo>
                    <a:pt x="212" y="500"/>
                  </a:lnTo>
                  <a:lnTo>
                    <a:pt x="198" y="500"/>
                  </a:lnTo>
                  <a:lnTo>
                    <a:pt x="188" y="496"/>
                  </a:lnTo>
                  <a:lnTo>
                    <a:pt x="187" y="490"/>
                  </a:lnTo>
                  <a:lnTo>
                    <a:pt x="182" y="485"/>
                  </a:lnTo>
                  <a:lnTo>
                    <a:pt x="177" y="477"/>
                  </a:lnTo>
                  <a:lnTo>
                    <a:pt x="179" y="467"/>
                  </a:lnTo>
                  <a:lnTo>
                    <a:pt x="174" y="460"/>
                  </a:lnTo>
                  <a:lnTo>
                    <a:pt x="168" y="450"/>
                  </a:lnTo>
                  <a:lnTo>
                    <a:pt x="173" y="438"/>
                  </a:lnTo>
                  <a:lnTo>
                    <a:pt x="174" y="430"/>
                  </a:lnTo>
                  <a:lnTo>
                    <a:pt x="170" y="423"/>
                  </a:lnTo>
                  <a:lnTo>
                    <a:pt x="156" y="424"/>
                  </a:lnTo>
                  <a:lnTo>
                    <a:pt x="150" y="414"/>
                  </a:lnTo>
                  <a:lnTo>
                    <a:pt x="151" y="403"/>
                  </a:lnTo>
                  <a:lnTo>
                    <a:pt x="147" y="396"/>
                  </a:lnTo>
                  <a:lnTo>
                    <a:pt x="133" y="396"/>
                  </a:lnTo>
                  <a:lnTo>
                    <a:pt x="113" y="400"/>
                  </a:lnTo>
                  <a:lnTo>
                    <a:pt x="100" y="403"/>
                  </a:lnTo>
                  <a:lnTo>
                    <a:pt x="86" y="404"/>
                  </a:lnTo>
                  <a:lnTo>
                    <a:pt x="75" y="399"/>
                  </a:lnTo>
                  <a:lnTo>
                    <a:pt x="72" y="389"/>
                  </a:lnTo>
                  <a:lnTo>
                    <a:pt x="63" y="385"/>
                  </a:lnTo>
                  <a:lnTo>
                    <a:pt x="62" y="376"/>
                  </a:lnTo>
                  <a:lnTo>
                    <a:pt x="62" y="367"/>
                  </a:lnTo>
                  <a:lnTo>
                    <a:pt x="66" y="357"/>
                  </a:lnTo>
                  <a:lnTo>
                    <a:pt x="58" y="352"/>
                  </a:lnTo>
                  <a:lnTo>
                    <a:pt x="50" y="345"/>
                  </a:lnTo>
                  <a:lnTo>
                    <a:pt x="46" y="337"/>
                  </a:lnTo>
                  <a:lnTo>
                    <a:pt x="39" y="333"/>
                  </a:lnTo>
                  <a:lnTo>
                    <a:pt x="38" y="324"/>
                  </a:lnTo>
                  <a:lnTo>
                    <a:pt x="31" y="317"/>
                  </a:lnTo>
                  <a:lnTo>
                    <a:pt x="31" y="309"/>
                  </a:lnTo>
                  <a:lnTo>
                    <a:pt x="49" y="302"/>
                  </a:lnTo>
                  <a:lnTo>
                    <a:pt x="57" y="298"/>
                  </a:lnTo>
                  <a:lnTo>
                    <a:pt x="56" y="288"/>
                  </a:lnTo>
                  <a:lnTo>
                    <a:pt x="55" y="278"/>
                  </a:lnTo>
                  <a:lnTo>
                    <a:pt x="70" y="275"/>
                  </a:lnTo>
                  <a:lnTo>
                    <a:pt x="81" y="277"/>
                  </a:lnTo>
                  <a:lnTo>
                    <a:pt x="91" y="280"/>
                  </a:lnTo>
                  <a:lnTo>
                    <a:pt x="100" y="278"/>
                  </a:lnTo>
                  <a:lnTo>
                    <a:pt x="105" y="261"/>
                  </a:lnTo>
                  <a:lnTo>
                    <a:pt x="103" y="249"/>
                  </a:lnTo>
                  <a:lnTo>
                    <a:pt x="98" y="239"/>
                  </a:lnTo>
                  <a:lnTo>
                    <a:pt x="89" y="232"/>
                  </a:lnTo>
                  <a:lnTo>
                    <a:pt x="76" y="231"/>
                  </a:lnTo>
                  <a:lnTo>
                    <a:pt x="51" y="201"/>
                  </a:lnTo>
                  <a:lnTo>
                    <a:pt x="9" y="170"/>
                  </a:lnTo>
                  <a:lnTo>
                    <a:pt x="0" y="159"/>
                  </a:lnTo>
                  <a:lnTo>
                    <a:pt x="7" y="154"/>
                  </a:lnTo>
                  <a:lnTo>
                    <a:pt x="15" y="148"/>
                  </a:lnTo>
                  <a:lnTo>
                    <a:pt x="17" y="138"/>
                  </a:lnTo>
                  <a:lnTo>
                    <a:pt x="19" y="130"/>
                  </a:lnTo>
                  <a:lnTo>
                    <a:pt x="29" y="126"/>
                  </a:lnTo>
                  <a:lnTo>
                    <a:pt x="34" y="132"/>
                  </a:lnTo>
                  <a:lnTo>
                    <a:pt x="33" y="138"/>
                  </a:lnTo>
                  <a:lnTo>
                    <a:pt x="35" y="142"/>
                  </a:lnTo>
                  <a:lnTo>
                    <a:pt x="49" y="145"/>
                  </a:lnTo>
                  <a:lnTo>
                    <a:pt x="59" y="141"/>
                  </a:lnTo>
                  <a:lnTo>
                    <a:pt x="63" y="130"/>
                  </a:lnTo>
                  <a:lnTo>
                    <a:pt x="61" y="115"/>
                  </a:lnTo>
                  <a:lnTo>
                    <a:pt x="61" y="106"/>
                  </a:lnTo>
                  <a:lnTo>
                    <a:pt x="56" y="96"/>
                  </a:lnTo>
                  <a:lnTo>
                    <a:pt x="57" y="85"/>
                  </a:lnTo>
                  <a:lnTo>
                    <a:pt x="59" y="73"/>
                  </a:lnTo>
                  <a:lnTo>
                    <a:pt x="49" y="61"/>
                  </a:lnTo>
                  <a:lnTo>
                    <a:pt x="39" y="57"/>
                  </a:lnTo>
                  <a:lnTo>
                    <a:pt x="28" y="47"/>
                  </a:lnTo>
                  <a:lnTo>
                    <a:pt x="34" y="40"/>
                  </a:lnTo>
                  <a:lnTo>
                    <a:pt x="44" y="38"/>
                  </a:lnTo>
                  <a:lnTo>
                    <a:pt x="59" y="35"/>
                  </a:lnTo>
                  <a:lnTo>
                    <a:pt x="67" y="36"/>
                  </a:lnTo>
                  <a:lnTo>
                    <a:pt x="69" y="29"/>
                  </a:lnTo>
                  <a:lnTo>
                    <a:pt x="76" y="23"/>
                  </a:lnTo>
                  <a:lnTo>
                    <a:pt x="87" y="16"/>
                  </a:lnTo>
                  <a:lnTo>
                    <a:pt x="96" y="10"/>
                  </a:lnTo>
                  <a:lnTo>
                    <a:pt x="104" y="6"/>
                  </a:lnTo>
                  <a:lnTo>
                    <a:pt x="111" y="0"/>
                  </a:lnTo>
                  <a:lnTo>
                    <a:pt x="117" y="11"/>
                  </a:lnTo>
                  <a:lnTo>
                    <a:pt x="121" y="22"/>
                  </a:lnTo>
                  <a:lnTo>
                    <a:pt x="128" y="30"/>
                  </a:lnTo>
                  <a:lnTo>
                    <a:pt x="139" y="36"/>
                  </a:lnTo>
                  <a:lnTo>
                    <a:pt x="147" y="41"/>
                  </a:lnTo>
                  <a:lnTo>
                    <a:pt x="149" y="48"/>
                  </a:lnTo>
                  <a:lnTo>
                    <a:pt x="147" y="61"/>
                  </a:lnTo>
                  <a:lnTo>
                    <a:pt x="145" y="71"/>
                  </a:lnTo>
                  <a:lnTo>
                    <a:pt x="137" y="77"/>
                  </a:lnTo>
                  <a:lnTo>
                    <a:pt x="128" y="84"/>
                  </a:lnTo>
                  <a:lnTo>
                    <a:pt x="118" y="102"/>
                  </a:lnTo>
                  <a:lnTo>
                    <a:pt x="116" y="116"/>
                  </a:lnTo>
                  <a:lnTo>
                    <a:pt x="116" y="128"/>
                  </a:lnTo>
                  <a:lnTo>
                    <a:pt x="109" y="140"/>
                  </a:lnTo>
                  <a:lnTo>
                    <a:pt x="104" y="154"/>
                  </a:lnTo>
                  <a:lnTo>
                    <a:pt x="102" y="169"/>
                  </a:lnTo>
                  <a:lnTo>
                    <a:pt x="105" y="187"/>
                  </a:lnTo>
                  <a:lnTo>
                    <a:pt x="108" y="197"/>
                  </a:lnTo>
                  <a:lnTo>
                    <a:pt x="120" y="212"/>
                  </a:lnTo>
                  <a:lnTo>
                    <a:pt x="127" y="224"/>
                  </a:lnTo>
                  <a:lnTo>
                    <a:pt x="211" y="220"/>
                  </a:lnTo>
                  <a:lnTo>
                    <a:pt x="228" y="193"/>
                  </a:lnTo>
                  <a:lnTo>
                    <a:pt x="234" y="179"/>
                  </a:lnTo>
                  <a:lnTo>
                    <a:pt x="239" y="164"/>
                  </a:lnTo>
                  <a:lnTo>
                    <a:pt x="251" y="161"/>
                  </a:lnTo>
                  <a:lnTo>
                    <a:pt x="261" y="166"/>
                  </a:lnTo>
                  <a:lnTo>
                    <a:pt x="268" y="161"/>
                  </a:lnTo>
                  <a:lnTo>
                    <a:pt x="269" y="151"/>
                  </a:lnTo>
                  <a:lnTo>
                    <a:pt x="282" y="145"/>
                  </a:lnTo>
                  <a:lnTo>
                    <a:pt x="291" y="137"/>
                  </a:lnTo>
                  <a:lnTo>
                    <a:pt x="294" y="130"/>
                  </a:lnTo>
                  <a:lnTo>
                    <a:pt x="305" y="128"/>
                  </a:lnTo>
                  <a:lnTo>
                    <a:pt x="305" y="120"/>
                  </a:lnTo>
                  <a:lnTo>
                    <a:pt x="306" y="114"/>
                  </a:lnTo>
                  <a:lnTo>
                    <a:pt x="316" y="113"/>
                  </a:lnTo>
                  <a:lnTo>
                    <a:pt x="327" y="114"/>
                  </a:lnTo>
                  <a:lnTo>
                    <a:pt x="336" y="113"/>
                  </a:lnTo>
                  <a:lnTo>
                    <a:pt x="345" y="109"/>
                  </a:lnTo>
                  <a:lnTo>
                    <a:pt x="356" y="110"/>
                  </a:lnTo>
                  <a:lnTo>
                    <a:pt x="360" y="103"/>
                  </a:lnTo>
                  <a:lnTo>
                    <a:pt x="365" y="95"/>
                  </a:lnTo>
                  <a:lnTo>
                    <a:pt x="372" y="90"/>
                  </a:lnTo>
                  <a:lnTo>
                    <a:pt x="388" y="102"/>
                  </a:lnTo>
                  <a:lnTo>
                    <a:pt x="400" y="108"/>
                  </a:lnTo>
                  <a:lnTo>
                    <a:pt x="411" y="116"/>
                  </a:lnTo>
                  <a:lnTo>
                    <a:pt x="419" y="126"/>
                  </a:lnTo>
                  <a:lnTo>
                    <a:pt x="422" y="135"/>
                  </a:lnTo>
                  <a:lnTo>
                    <a:pt x="420" y="147"/>
                  </a:lnTo>
                  <a:lnTo>
                    <a:pt x="427" y="152"/>
                  </a:lnTo>
                  <a:lnTo>
                    <a:pt x="434" y="158"/>
                  </a:lnTo>
                  <a:lnTo>
                    <a:pt x="429" y="168"/>
                  </a:lnTo>
                  <a:lnTo>
                    <a:pt x="417" y="171"/>
                  </a:lnTo>
                  <a:lnTo>
                    <a:pt x="417" y="179"/>
                  </a:lnTo>
                  <a:lnTo>
                    <a:pt x="414" y="187"/>
                  </a:lnTo>
                  <a:lnTo>
                    <a:pt x="413" y="196"/>
                  </a:lnTo>
                  <a:lnTo>
                    <a:pt x="417" y="204"/>
                  </a:lnTo>
                  <a:lnTo>
                    <a:pt x="422" y="209"/>
                  </a:lnTo>
                  <a:lnTo>
                    <a:pt x="430" y="215"/>
                  </a:lnTo>
                  <a:lnTo>
                    <a:pt x="437" y="211"/>
                  </a:lnTo>
                  <a:lnTo>
                    <a:pt x="441" y="201"/>
                  </a:lnTo>
                  <a:lnTo>
                    <a:pt x="444" y="194"/>
                  </a:lnTo>
                  <a:lnTo>
                    <a:pt x="453" y="203"/>
                  </a:lnTo>
                  <a:lnTo>
                    <a:pt x="452" y="209"/>
                  </a:lnTo>
                  <a:lnTo>
                    <a:pt x="443" y="218"/>
                  </a:lnTo>
                  <a:lnTo>
                    <a:pt x="448" y="226"/>
                  </a:lnTo>
                  <a:lnTo>
                    <a:pt x="444" y="233"/>
                  </a:lnTo>
                  <a:lnTo>
                    <a:pt x="447" y="243"/>
                  </a:lnTo>
                  <a:lnTo>
                    <a:pt x="452" y="250"/>
                  </a:lnTo>
                  <a:lnTo>
                    <a:pt x="452" y="261"/>
                  </a:lnTo>
                  <a:lnTo>
                    <a:pt x="460" y="264"/>
                  </a:lnTo>
                  <a:lnTo>
                    <a:pt x="471" y="264"/>
                  </a:lnTo>
                  <a:lnTo>
                    <a:pt x="512" y="230"/>
                  </a:lnTo>
                  <a:lnTo>
                    <a:pt x="519" y="219"/>
                  </a:lnTo>
                  <a:lnTo>
                    <a:pt x="521" y="230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2AA04F68-403B-423A-AC78-12A1B94B6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" y="2003"/>
              <a:ext cx="82" cy="97"/>
            </a:xfrm>
            <a:custGeom>
              <a:avLst/>
              <a:gdLst>
                <a:gd name="T0" fmla="*/ 75 w 82"/>
                <a:gd name="T1" fmla="*/ 0 h 97"/>
                <a:gd name="T2" fmla="*/ 64 w 82"/>
                <a:gd name="T3" fmla="*/ 6 h 97"/>
                <a:gd name="T4" fmla="*/ 55 w 82"/>
                <a:gd name="T5" fmla="*/ 3 h 97"/>
                <a:gd name="T6" fmla="*/ 43 w 82"/>
                <a:gd name="T7" fmla="*/ 1 h 97"/>
                <a:gd name="T8" fmla="*/ 32 w 82"/>
                <a:gd name="T9" fmla="*/ 2 h 97"/>
                <a:gd name="T10" fmla="*/ 22 w 82"/>
                <a:gd name="T11" fmla="*/ 3 h 97"/>
                <a:gd name="T12" fmla="*/ 24 w 82"/>
                <a:gd name="T13" fmla="*/ 8 h 97"/>
                <a:gd name="T14" fmla="*/ 12 w 82"/>
                <a:gd name="T15" fmla="*/ 13 h 97"/>
                <a:gd name="T16" fmla="*/ 5 w 82"/>
                <a:gd name="T17" fmla="*/ 14 h 97"/>
                <a:gd name="T18" fmla="*/ 0 w 82"/>
                <a:gd name="T19" fmla="*/ 20 h 97"/>
                <a:gd name="T20" fmla="*/ 3 w 82"/>
                <a:gd name="T21" fmla="*/ 29 h 97"/>
                <a:gd name="T22" fmla="*/ 4 w 82"/>
                <a:gd name="T23" fmla="*/ 39 h 97"/>
                <a:gd name="T24" fmla="*/ 9 w 82"/>
                <a:gd name="T25" fmla="*/ 46 h 97"/>
                <a:gd name="T26" fmla="*/ 15 w 82"/>
                <a:gd name="T27" fmla="*/ 53 h 97"/>
                <a:gd name="T28" fmla="*/ 12 w 82"/>
                <a:gd name="T29" fmla="*/ 63 h 97"/>
                <a:gd name="T30" fmla="*/ 16 w 82"/>
                <a:gd name="T31" fmla="*/ 76 h 97"/>
                <a:gd name="T32" fmla="*/ 16 w 82"/>
                <a:gd name="T33" fmla="*/ 86 h 97"/>
                <a:gd name="T34" fmla="*/ 21 w 82"/>
                <a:gd name="T35" fmla="*/ 94 h 97"/>
                <a:gd name="T36" fmla="*/ 29 w 82"/>
                <a:gd name="T37" fmla="*/ 97 h 97"/>
                <a:gd name="T38" fmla="*/ 30 w 82"/>
                <a:gd name="T39" fmla="*/ 87 h 97"/>
                <a:gd name="T40" fmla="*/ 34 w 82"/>
                <a:gd name="T41" fmla="*/ 79 h 97"/>
                <a:gd name="T42" fmla="*/ 41 w 82"/>
                <a:gd name="T43" fmla="*/ 66 h 97"/>
                <a:gd name="T44" fmla="*/ 49 w 82"/>
                <a:gd name="T45" fmla="*/ 53 h 97"/>
                <a:gd name="T46" fmla="*/ 47 w 82"/>
                <a:gd name="T47" fmla="*/ 45 h 97"/>
                <a:gd name="T48" fmla="*/ 50 w 82"/>
                <a:gd name="T49" fmla="*/ 35 h 97"/>
                <a:gd name="T50" fmla="*/ 58 w 82"/>
                <a:gd name="T51" fmla="*/ 27 h 97"/>
                <a:gd name="T52" fmla="*/ 68 w 82"/>
                <a:gd name="T53" fmla="*/ 18 h 97"/>
                <a:gd name="T54" fmla="*/ 77 w 82"/>
                <a:gd name="T55" fmla="*/ 13 h 97"/>
                <a:gd name="T56" fmla="*/ 82 w 82"/>
                <a:gd name="T57" fmla="*/ 6 h 97"/>
                <a:gd name="T58" fmla="*/ 75 w 82"/>
                <a:gd name="T5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2" h="97">
                  <a:moveTo>
                    <a:pt x="75" y="0"/>
                  </a:moveTo>
                  <a:lnTo>
                    <a:pt x="64" y="6"/>
                  </a:lnTo>
                  <a:lnTo>
                    <a:pt x="55" y="3"/>
                  </a:lnTo>
                  <a:lnTo>
                    <a:pt x="43" y="1"/>
                  </a:lnTo>
                  <a:lnTo>
                    <a:pt x="32" y="2"/>
                  </a:lnTo>
                  <a:lnTo>
                    <a:pt x="22" y="3"/>
                  </a:lnTo>
                  <a:lnTo>
                    <a:pt x="24" y="8"/>
                  </a:lnTo>
                  <a:lnTo>
                    <a:pt x="12" y="13"/>
                  </a:lnTo>
                  <a:lnTo>
                    <a:pt x="5" y="14"/>
                  </a:lnTo>
                  <a:lnTo>
                    <a:pt x="0" y="20"/>
                  </a:lnTo>
                  <a:lnTo>
                    <a:pt x="3" y="29"/>
                  </a:lnTo>
                  <a:lnTo>
                    <a:pt x="4" y="39"/>
                  </a:lnTo>
                  <a:lnTo>
                    <a:pt x="9" y="46"/>
                  </a:lnTo>
                  <a:lnTo>
                    <a:pt x="15" y="53"/>
                  </a:lnTo>
                  <a:lnTo>
                    <a:pt x="12" y="63"/>
                  </a:lnTo>
                  <a:lnTo>
                    <a:pt x="16" y="76"/>
                  </a:lnTo>
                  <a:lnTo>
                    <a:pt x="16" y="86"/>
                  </a:lnTo>
                  <a:lnTo>
                    <a:pt x="21" y="94"/>
                  </a:lnTo>
                  <a:lnTo>
                    <a:pt x="29" y="97"/>
                  </a:lnTo>
                  <a:lnTo>
                    <a:pt x="30" y="87"/>
                  </a:lnTo>
                  <a:lnTo>
                    <a:pt x="34" y="79"/>
                  </a:lnTo>
                  <a:lnTo>
                    <a:pt x="41" y="66"/>
                  </a:lnTo>
                  <a:lnTo>
                    <a:pt x="49" y="53"/>
                  </a:lnTo>
                  <a:lnTo>
                    <a:pt x="47" y="45"/>
                  </a:lnTo>
                  <a:lnTo>
                    <a:pt x="50" y="35"/>
                  </a:lnTo>
                  <a:lnTo>
                    <a:pt x="58" y="27"/>
                  </a:lnTo>
                  <a:lnTo>
                    <a:pt x="68" y="18"/>
                  </a:lnTo>
                  <a:lnTo>
                    <a:pt x="77" y="13"/>
                  </a:lnTo>
                  <a:lnTo>
                    <a:pt x="82" y="6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976E5E66-4DDB-4AD6-9289-F27373616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" y="2003"/>
              <a:ext cx="82" cy="97"/>
            </a:xfrm>
            <a:custGeom>
              <a:avLst/>
              <a:gdLst>
                <a:gd name="T0" fmla="*/ 75 w 82"/>
                <a:gd name="T1" fmla="*/ 0 h 97"/>
                <a:gd name="T2" fmla="*/ 64 w 82"/>
                <a:gd name="T3" fmla="*/ 6 h 97"/>
                <a:gd name="T4" fmla="*/ 55 w 82"/>
                <a:gd name="T5" fmla="*/ 3 h 97"/>
                <a:gd name="T6" fmla="*/ 43 w 82"/>
                <a:gd name="T7" fmla="*/ 1 h 97"/>
                <a:gd name="T8" fmla="*/ 32 w 82"/>
                <a:gd name="T9" fmla="*/ 2 h 97"/>
                <a:gd name="T10" fmla="*/ 22 w 82"/>
                <a:gd name="T11" fmla="*/ 3 h 97"/>
                <a:gd name="T12" fmla="*/ 24 w 82"/>
                <a:gd name="T13" fmla="*/ 8 h 97"/>
                <a:gd name="T14" fmla="*/ 12 w 82"/>
                <a:gd name="T15" fmla="*/ 13 h 97"/>
                <a:gd name="T16" fmla="*/ 5 w 82"/>
                <a:gd name="T17" fmla="*/ 14 h 97"/>
                <a:gd name="T18" fmla="*/ 0 w 82"/>
                <a:gd name="T19" fmla="*/ 20 h 97"/>
                <a:gd name="T20" fmla="*/ 3 w 82"/>
                <a:gd name="T21" fmla="*/ 29 h 97"/>
                <a:gd name="T22" fmla="*/ 4 w 82"/>
                <a:gd name="T23" fmla="*/ 39 h 97"/>
                <a:gd name="T24" fmla="*/ 9 w 82"/>
                <a:gd name="T25" fmla="*/ 46 h 97"/>
                <a:gd name="T26" fmla="*/ 15 w 82"/>
                <a:gd name="T27" fmla="*/ 53 h 97"/>
                <a:gd name="T28" fmla="*/ 12 w 82"/>
                <a:gd name="T29" fmla="*/ 63 h 97"/>
                <a:gd name="T30" fmla="*/ 16 w 82"/>
                <a:gd name="T31" fmla="*/ 76 h 97"/>
                <a:gd name="T32" fmla="*/ 16 w 82"/>
                <a:gd name="T33" fmla="*/ 86 h 97"/>
                <a:gd name="T34" fmla="*/ 21 w 82"/>
                <a:gd name="T35" fmla="*/ 94 h 97"/>
                <a:gd name="T36" fmla="*/ 29 w 82"/>
                <a:gd name="T37" fmla="*/ 97 h 97"/>
                <a:gd name="T38" fmla="*/ 30 w 82"/>
                <a:gd name="T39" fmla="*/ 87 h 97"/>
                <a:gd name="T40" fmla="*/ 34 w 82"/>
                <a:gd name="T41" fmla="*/ 79 h 97"/>
                <a:gd name="T42" fmla="*/ 41 w 82"/>
                <a:gd name="T43" fmla="*/ 66 h 97"/>
                <a:gd name="T44" fmla="*/ 49 w 82"/>
                <a:gd name="T45" fmla="*/ 53 h 97"/>
                <a:gd name="T46" fmla="*/ 47 w 82"/>
                <a:gd name="T47" fmla="*/ 45 h 97"/>
                <a:gd name="T48" fmla="*/ 50 w 82"/>
                <a:gd name="T49" fmla="*/ 35 h 97"/>
                <a:gd name="T50" fmla="*/ 58 w 82"/>
                <a:gd name="T51" fmla="*/ 27 h 97"/>
                <a:gd name="T52" fmla="*/ 68 w 82"/>
                <a:gd name="T53" fmla="*/ 18 h 97"/>
                <a:gd name="T54" fmla="*/ 77 w 82"/>
                <a:gd name="T55" fmla="*/ 13 h 97"/>
                <a:gd name="T56" fmla="*/ 82 w 82"/>
                <a:gd name="T57" fmla="*/ 6 h 97"/>
                <a:gd name="T58" fmla="*/ 75 w 82"/>
                <a:gd name="T5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2" h="97">
                  <a:moveTo>
                    <a:pt x="75" y="0"/>
                  </a:moveTo>
                  <a:lnTo>
                    <a:pt x="64" y="6"/>
                  </a:lnTo>
                  <a:lnTo>
                    <a:pt x="55" y="3"/>
                  </a:lnTo>
                  <a:lnTo>
                    <a:pt x="43" y="1"/>
                  </a:lnTo>
                  <a:lnTo>
                    <a:pt x="32" y="2"/>
                  </a:lnTo>
                  <a:lnTo>
                    <a:pt x="22" y="3"/>
                  </a:lnTo>
                  <a:lnTo>
                    <a:pt x="24" y="8"/>
                  </a:lnTo>
                  <a:lnTo>
                    <a:pt x="12" y="13"/>
                  </a:lnTo>
                  <a:lnTo>
                    <a:pt x="5" y="14"/>
                  </a:lnTo>
                  <a:lnTo>
                    <a:pt x="0" y="20"/>
                  </a:lnTo>
                  <a:lnTo>
                    <a:pt x="3" y="29"/>
                  </a:lnTo>
                  <a:lnTo>
                    <a:pt x="4" y="39"/>
                  </a:lnTo>
                  <a:lnTo>
                    <a:pt x="9" y="46"/>
                  </a:lnTo>
                  <a:lnTo>
                    <a:pt x="15" y="53"/>
                  </a:lnTo>
                  <a:lnTo>
                    <a:pt x="12" y="63"/>
                  </a:lnTo>
                  <a:lnTo>
                    <a:pt x="16" y="76"/>
                  </a:lnTo>
                  <a:lnTo>
                    <a:pt x="16" y="86"/>
                  </a:lnTo>
                  <a:lnTo>
                    <a:pt x="21" y="94"/>
                  </a:lnTo>
                  <a:lnTo>
                    <a:pt x="29" y="97"/>
                  </a:lnTo>
                  <a:lnTo>
                    <a:pt x="30" y="87"/>
                  </a:lnTo>
                  <a:lnTo>
                    <a:pt x="34" y="79"/>
                  </a:lnTo>
                  <a:lnTo>
                    <a:pt x="41" y="66"/>
                  </a:lnTo>
                  <a:lnTo>
                    <a:pt x="49" y="53"/>
                  </a:lnTo>
                  <a:lnTo>
                    <a:pt x="47" y="45"/>
                  </a:lnTo>
                  <a:lnTo>
                    <a:pt x="50" y="35"/>
                  </a:lnTo>
                  <a:lnTo>
                    <a:pt x="58" y="27"/>
                  </a:lnTo>
                  <a:lnTo>
                    <a:pt x="68" y="18"/>
                  </a:lnTo>
                  <a:lnTo>
                    <a:pt x="77" y="13"/>
                  </a:lnTo>
                  <a:lnTo>
                    <a:pt x="82" y="6"/>
                  </a:lnTo>
                  <a:lnTo>
                    <a:pt x="75" y="0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88344BF2-0B40-4032-84F8-F07E28F73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" y="1829"/>
              <a:ext cx="292" cy="327"/>
            </a:xfrm>
            <a:custGeom>
              <a:avLst/>
              <a:gdLst>
                <a:gd name="T0" fmla="*/ 275 w 292"/>
                <a:gd name="T1" fmla="*/ 236 h 327"/>
                <a:gd name="T2" fmla="*/ 254 w 292"/>
                <a:gd name="T3" fmla="*/ 225 h 327"/>
                <a:gd name="T4" fmla="*/ 236 w 292"/>
                <a:gd name="T5" fmla="*/ 229 h 327"/>
                <a:gd name="T6" fmla="*/ 218 w 292"/>
                <a:gd name="T7" fmla="*/ 232 h 327"/>
                <a:gd name="T8" fmla="*/ 207 w 292"/>
                <a:gd name="T9" fmla="*/ 206 h 327"/>
                <a:gd name="T10" fmla="*/ 185 w 292"/>
                <a:gd name="T11" fmla="*/ 196 h 327"/>
                <a:gd name="T12" fmla="*/ 171 w 292"/>
                <a:gd name="T13" fmla="*/ 215 h 327"/>
                <a:gd name="T14" fmla="*/ 183 w 292"/>
                <a:gd name="T15" fmla="*/ 237 h 327"/>
                <a:gd name="T16" fmla="*/ 169 w 292"/>
                <a:gd name="T17" fmla="*/ 248 h 327"/>
                <a:gd name="T18" fmla="*/ 152 w 292"/>
                <a:gd name="T19" fmla="*/ 259 h 327"/>
                <a:gd name="T20" fmla="*/ 132 w 292"/>
                <a:gd name="T21" fmla="*/ 267 h 327"/>
                <a:gd name="T22" fmla="*/ 109 w 292"/>
                <a:gd name="T23" fmla="*/ 273 h 327"/>
                <a:gd name="T24" fmla="*/ 85 w 292"/>
                <a:gd name="T25" fmla="*/ 309 h 327"/>
                <a:gd name="T26" fmla="*/ 72 w 292"/>
                <a:gd name="T27" fmla="*/ 324 h 327"/>
                <a:gd name="T28" fmla="*/ 64 w 292"/>
                <a:gd name="T29" fmla="*/ 320 h 327"/>
                <a:gd name="T30" fmla="*/ 53 w 292"/>
                <a:gd name="T31" fmla="*/ 304 h 327"/>
                <a:gd name="T32" fmla="*/ 56 w 292"/>
                <a:gd name="T33" fmla="*/ 280 h 327"/>
                <a:gd name="T34" fmla="*/ 61 w 292"/>
                <a:gd name="T35" fmla="*/ 262 h 327"/>
                <a:gd name="T36" fmla="*/ 56 w 292"/>
                <a:gd name="T37" fmla="*/ 244 h 327"/>
                <a:gd name="T38" fmla="*/ 41 w 292"/>
                <a:gd name="T39" fmla="*/ 241 h 327"/>
                <a:gd name="T40" fmla="*/ 23 w 292"/>
                <a:gd name="T41" fmla="*/ 244 h 327"/>
                <a:gd name="T42" fmla="*/ 7 w 292"/>
                <a:gd name="T43" fmla="*/ 235 h 327"/>
                <a:gd name="T44" fmla="*/ 4 w 292"/>
                <a:gd name="T45" fmla="*/ 211 h 327"/>
                <a:gd name="T46" fmla="*/ 5 w 292"/>
                <a:gd name="T47" fmla="*/ 193 h 327"/>
                <a:gd name="T48" fmla="*/ 5 w 292"/>
                <a:gd name="T49" fmla="*/ 172 h 327"/>
                <a:gd name="T50" fmla="*/ 11 w 292"/>
                <a:gd name="T51" fmla="*/ 151 h 327"/>
                <a:gd name="T52" fmla="*/ 11 w 292"/>
                <a:gd name="T53" fmla="*/ 135 h 327"/>
                <a:gd name="T54" fmla="*/ 15 w 292"/>
                <a:gd name="T55" fmla="*/ 119 h 327"/>
                <a:gd name="T56" fmla="*/ 16 w 292"/>
                <a:gd name="T57" fmla="*/ 106 h 327"/>
                <a:gd name="T58" fmla="*/ 15 w 292"/>
                <a:gd name="T59" fmla="*/ 87 h 327"/>
                <a:gd name="T60" fmla="*/ 16 w 292"/>
                <a:gd name="T61" fmla="*/ 78 h 327"/>
                <a:gd name="T62" fmla="*/ 24 w 292"/>
                <a:gd name="T63" fmla="*/ 54 h 327"/>
                <a:gd name="T64" fmla="*/ 28 w 292"/>
                <a:gd name="T65" fmla="*/ 33 h 327"/>
                <a:gd name="T66" fmla="*/ 33 w 292"/>
                <a:gd name="T67" fmla="*/ 12 h 327"/>
                <a:gd name="T68" fmla="*/ 50 w 292"/>
                <a:gd name="T69" fmla="*/ 6 h 327"/>
                <a:gd name="T70" fmla="*/ 66 w 292"/>
                <a:gd name="T71" fmla="*/ 9 h 327"/>
                <a:gd name="T72" fmla="*/ 76 w 292"/>
                <a:gd name="T73" fmla="*/ 0 h 327"/>
                <a:gd name="T74" fmla="*/ 86 w 292"/>
                <a:gd name="T75" fmla="*/ 21 h 327"/>
                <a:gd name="T76" fmla="*/ 86 w 292"/>
                <a:gd name="T77" fmla="*/ 38 h 327"/>
                <a:gd name="T78" fmla="*/ 95 w 292"/>
                <a:gd name="T79" fmla="*/ 51 h 327"/>
                <a:gd name="T80" fmla="*/ 116 w 292"/>
                <a:gd name="T81" fmla="*/ 54 h 327"/>
                <a:gd name="T82" fmla="*/ 129 w 292"/>
                <a:gd name="T83" fmla="*/ 66 h 327"/>
                <a:gd name="T84" fmla="*/ 149 w 292"/>
                <a:gd name="T85" fmla="*/ 53 h 327"/>
                <a:gd name="T86" fmla="*/ 159 w 292"/>
                <a:gd name="T87" fmla="*/ 42 h 327"/>
                <a:gd name="T88" fmla="*/ 168 w 292"/>
                <a:gd name="T89" fmla="*/ 45 h 327"/>
                <a:gd name="T90" fmla="*/ 194 w 292"/>
                <a:gd name="T91" fmla="*/ 53 h 327"/>
                <a:gd name="T92" fmla="*/ 197 w 292"/>
                <a:gd name="T93" fmla="*/ 71 h 327"/>
                <a:gd name="T94" fmla="*/ 213 w 292"/>
                <a:gd name="T95" fmla="*/ 82 h 327"/>
                <a:gd name="T96" fmla="*/ 220 w 292"/>
                <a:gd name="T97" fmla="*/ 105 h 327"/>
                <a:gd name="T98" fmla="*/ 218 w 292"/>
                <a:gd name="T99" fmla="*/ 120 h 327"/>
                <a:gd name="T100" fmla="*/ 219 w 292"/>
                <a:gd name="T101" fmla="*/ 136 h 327"/>
                <a:gd name="T102" fmla="*/ 239 w 292"/>
                <a:gd name="T103" fmla="*/ 142 h 327"/>
                <a:gd name="T104" fmla="*/ 248 w 292"/>
                <a:gd name="T105" fmla="*/ 152 h 327"/>
                <a:gd name="T106" fmla="*/ 262 w 292"/>
                <a:gd name="T107" fmla="*/ 158 h 327"/>
                <a:gd name="T108" fmla="*/ 284 w 292"/>
                <a:gd name="T109" fmla="*/ 169 h 327"/>
                <a:gd name="T110" fmla="*/ 284 w 292"/>
                <a:gd name="T111" fmla="*/ 239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2" h="327">
                  <a:moveTo>
                    <a:pt x="284" y="239"/>
                  </a:moveTo>
                  <a:lnTo>
                    <a:pt x="275" y="236"/>
                  </a:lnTo>
                  <a:lnTo>
                    <a:pt x="266" y="230"/>
                  </a:lnTo>
                  <a:lnTo>
                    <a:pt x="254" y="225"/>
                  </a:lnTo>
                  <a:lnTo>
                    <a:pt x="243" y="223"/>
                  </a:lnTo>
                  <a:lnTo>
                    <a:pt x="236" y="229"/>
                  </a:lnTo>
                  <a:lnTo>
                    <a:pt x="227" y="232"/>
                  </a:lnTo>
                  <a:lnTo>
                    <a:pt x="218" y="232"/>
                  </a:lnTo>
                  <a:lnTo>
                    <a:pt x="211" y="221"/>
                  </a:lnTo>
                  <a:lnTo>
                    <a:pt x="207" y="206"/>
                  </a:lnTo>
                  <a:lnTo>
                    <a:pt x="196" y="198"/>
                  </a:lnTo>
                  <a:lnTo>
                    <a:pt x="185" y="196"/>
                  </a:lnTo>
                  <a:lnTo>
                    <a:pt x="177" y="204"/>
                  </a:lnTo>
                  <a:lnTo>
                    <a:pt x="171" y="215"/>
                  </a:lnTo>
                  <a:lnTo>
                    <a:pt x="176" y="225"/>
                  </a:lnTo>
                  <a:lnTo>
                    <a:pt x="183" y="237"/>
                  </a:lnTo>
                  <a:lnTo>
                    <a:pt x="178" y="243"/>
                  </a:lnTo>
                  <a:lnTo>
                    <a:pt x="169" y="248"/>
                  </a:lnTo>
                  <a:lnTo>
                    <a:pt x="163" y="254"/>
                  </a:lnTo>
                  <a:lnTo>
                    <a:pt x="152" y="259"/>
                  </a:lnTo>
                  <a:lnTo>
                    <a:pt x="139" y="259"/>
                  </a:lnTo>
                  <a:lnTo>
                    <a:pt x="132" y="267"/>
                  </a:lnTo>
                  <a:lnTo>
                    <a:pt x="120" y="272"/>
                  </a:lnTo>
                  <a:lnTo>
                    <a:pt x="109" y="273"/>
                  </a:lnTo>
                  <a:lnTo>
                    <a:pt x="93" y="293"/>
                  </a:lnTo>
                  <a:lnTo>
                    <a:pt x="85" y="309"/>
                  </a:lnTo>
                  <a:lnTo>
                    <a:pt x="79" y="317"/>
                  </a:lnTo>
                  <a:lnTo>
                    <a:pt x="72" y="324"/>
                  </a:lnTo>
                  <a:lnTo>
                    <a:pt x="66" y="327"/>
                  </a:lnTo>
                  <a:lnTo>
                    <a:pt x="64" y="320"/>
                  </a:lnTo>
                  <a:lnTo>
                    <a:pt x="62" y="309"/>
                  </a:lnTo>
                  <a:lnTo>
                    <a:pt x="53" y="304"/>
                  </a:lnTo>
                  <a:lnTo>
                    <a:pt x="61" y="289"/>
                  </a:lnTo>
                  <a:lnTo>
                    <a:pt x="56" y="280"/>
                  </a:lnTo>
                  <a:lnTo>
                    <a:pt x="53" y="269"/>
                  </a:lnTo>
                  <a:lnTo>
                    <a:pt x="61" y="262"/>
                  </a:lnTo>
                  <a:lnTo>
                    <a:pt x="61" y="252"/>
                  </a:lnTo>
                  <a:lnTo>
                    <a:pt x="56" y="244"/>
                  </a:lnTo>
                  <a:lnTo>
                    <a:pt x="49" y="237"/>
                  </a:lnTo>
                  <a:lnTo>
                    <a:pt x="41" y="241"/>
                  </a:lnTo>
                  <a:lnTo>
                    <a:pt x="33" y="246"/>
                  </a:lnTo>
                  <a:lnTo>
                    <a:pt x="23" y="244"/>
                  </a:lnTo>
                  <a:lnTo>
                    <a:pt x="17" y="237"/>
                  </a:lnTo>
                  <a:lnTo>
                    <a:pt x="7" y="235"/>
                  </a:lnTo>
                  <a:lnTo>
                    <a:pt x="0" y="221"/>
                  </a:lnTo>
                  <a:lnTo>
                    <a:pt x="4" y="211"/>
                  </a:lnTo>
                  <a:lnTo>
                    <a:pt x="6" y="198"/>
                  </a:lnTo>
                  <a:lnTo>
                    <a:pt x="5" y="193"/>
                  </a:lnTo>
                  <a:lnTo>
                    <a:pt x="5" y="182"/>
                  </a:lnTo>
                  <a:lnTo>
                    <a:pt x="5" y="172"/>
                  </a:lnTo>
                  <a:lnTo>
                    <a:pt x="7" y="162"/>
                  </a:lnTo>
                  <a:lnTo>
                    <a:pt x="11" y="151"/>
                  </a:lnTo>
                  <a:lnTo>
                    <a:pt x="9" y="143"/>
                  </a:lnTo>
                  <a:lnTo>
                    <a:pt x="11" y="135"/>
                  </a:lnTo>
                  <a:lnTo>
                    <a:pt x="17" y="128"/>
                  </a:lnTo>
                  <a:lnTo>
                    <a:pt x="15" y="119"/>
                  </a:lnTo>
                  <a:lnTo>
                    <a:pt x="19" y="113"/>
                  </a:lnTo>
                  <a:lnTo>
                    <a:pt x="16" y="106"/>
                  </a:lnTo>
                  <a:lnTo>
                    <a:pt x="15" y="97"/>
                  </a:lnTo>
                  <a:lnTo>
                    <a:pt x="15" y="87"/>
                  </a:lnTo>
                  <a:lnTo>
                    <a:pt x="11" y="81"/>
                  </a:lnTo>
                  <a:lnTo>
                    <a:pt x="16" y="78"/>
                  </a:lnTo>
                  <a:lnTo>
                    <a:pt x="24" y="66"/>
                  </a:lnTo>
                  <a:lnTo>
                    <a:pt x="24" y="54"/>
                  </a:lnTo>
                  <a:lnTo>
                    <a:pt x="29" y="46"/>
                  </a:lnTo>
                  <a:lnTo>
                    <a:pt x="28" y="33"/>
                  </a:lnTo>
                  <a:lnTo>
                    <a:pt x="29" y="23"/>
                  </a:lnTo>
                  <a:lnTo>
                    <a:pt x="33" y="12"/>
                  </a:lnTo>
                  <a:lnTo>
                    <a:pt x="41" y="10"/>
                  </a:lnTo>
                  <a:lnTo>
                    <a:pt x="50" y="6"/>
                  </a:lnTo>
                  <a:lnTo>
                    <a:pt x="57" y="11"/>
                  </a:lnTo>
                  <a:lnTo>
                    <a:pt x="66" y="9"/>
                  </a:lnTo>
                  <a:lnTo>
                    <a:pt x="72" y="3"/>
                  </a:lnTo>
                  <a:lnTo>
                    <a:pt x="76" y="0"/>
                  </a:lnTo>
                  <a:lnTo>
                    <a:pt x="81" y="8"/>
                  </a:lnTo>
                  <a:lnTo>
                    <a:pt x="86" y="21"/>
                  </a:lnTo>
                  <a:lnTo>
                    <a:pt x="80" y="28"/>
                  </a:lnTo>
                  <a:lnTo>
                    <a:pt x="86" y="38"/>
                  </a:lnTo>
                  <a:lnTo>
                    <a:pt x="92" y="45"/>
                  </a:lnTo>
                  <a:lnTo>
                    <a:pt x="95" y="51"/>
                  </a:lnTo>
                  <a:lnTo>
                    <a:pt x="103" y="51"/>
                  </a:lnTo>
                  <a:lnTo>
                    <a:pt x="116" y="54"/>
                  </a:lnTo>
                  <a:lnTo>
                    <a:pt x="119" y="62"/>
                  </a:lnTo>
                  <a:lnTo>
                    <a:pt x="129" y="66"/>
                  </a:lnTo>
                  <a:lnTo>
                    <a:pt x="139" y="62"/>
                  </a:lnTo>
                  <a:lnTo>
                    <a:pt x="149" y="53"/>
                  </a:lnTo>
                  <a:lnTo>
                    <a:pt x="152" y="45"/>
                  </a:lnTo>
                  <a:lnTo>
                    <a:pt x="159" y="42"/>
                  </a:lnTo>
                  <a:lnTo>
                    <a:pt x="163" y="36"/>
                  </a:lnTo>
                  <a:lnTo>
                    <a:pt x="168" y="45"/>
                  </a:lnTo>
                  <a:lnTo>
                    <a:pt x="177" y="51"/>
                  </a:lnTo>
                  <a:lnTo>
                    <a:pt x="194" y="53"/>
                  </a:lnTo>
                  <a:lnTo>
                    <a:pt x="197" y="62"/>
                  </a:lnTo>
                  <a:lnTo>
                    <a:pt x="197" y="71"/>
                  </a:lnTo>
                  <a:lnTo>
                    <a:pt x="203" y="77"/>
                  </a:lnTo>
                  <a:lnTo>
                    <a:pt x="213" y="82"/>
                  </a:lnTo>
                  <a:lnTo>
                    <a:pt x="214" y="92"/>
                  </a:lnTo>
                  <a:lnTo>
                    <a:pt x="220" y="105"/>
                  </a:lnTo>
                  <a:lnTo>
                    <a:pt x="223" y="113"/>
                  </a:lnTo>
                  <a:lnTo>
                    <a:pt x="218" y="120"/>
                  </a:lnTo>
                  <a:lnTo>
                    <a:pt x="212" y="131"/>
                  </a:lnTo>
                  <a:lnTo>
                    <a:pt x="219" y="136"/>
                  </a:lnTo>
                  <a:lnTo>
                    <a:pt x="232" y="135"/>
                  </a:lnTo>
                  <a:lnTo>
                    <a:pt x="239" y="142"/>
                  </a:lnTo>
                  <a:lnTo>
                    <a:pt x="239" y="151"/>
                  </a:lnTo>
                  <a:lnTo>
                    <a:pt x="248" y="152"/>
                  </a:lnTo>
                  <a:lnTo>
                    <a:pt x="252" y="159"/>
                  </a:lnTo>
                  <a:lnTo>
                    <a:pt x="262" y="158"/>
                  </a:lnTo>
                  <a:lnTo>
                    <a:pt x="269" y="168"/>
                  </a:lnTo>
                  <a:lnTo>
                    <a:pt x="284" y="169"/>
                  </a:lnTo>
                  <a:lnTo>
                    <a:pt x="292" y="159"/>
                  </a:lnTo>
                  <a:lnTo>
                    <a:pt x="284" y="239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03F18FA8-82CA-4BE2-AECB-A0D702ACB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" y="1829"/>
              <a:ext cx="292" cy="327"/>
            </a:xfrm>
            <a:custGeom>
              <a:avLst/>
              <a:gdLst>
                <a:gd name="T0" fmla="*/ 275 w 292"/>
                <a:gd name="T1" fmla="*/ 236 h 327"/>
                <a:gd name="T2" fmla="*/ 254 w 292"/>
                <a:gd name="T3" fmla="*/ 225 h 327"/>
                <a:gd name="T4" fmla="*/ 236 w 292"/>
                <a:gd name="T5" fmla="*/ 229 h 327"/>
                <a:gd name="T6" fmla="*/ 218 w 292"/>
                <a:gd name="T7" fmla="*/ 232 h 327"/>
                <a:gd name="T8" fmla="*/ 207 w 292"/>
                <a:gd name="T9" fmla="*/ 206 h 327"/>
                <a:gd name="T10" fmla="*/ 185 w 292"/>
                <a:gd name="T11" fmla="*/ 196 h 327"/>
                <a:gd name="T12" fmla="*/ 171 w 292"/>
                <a:gd name="T13" fmla="*/ 215 h 327"/>
                <a:gd name="T14" fmla="*/ 183 w 292"/>
                <a:gd name="T15" fmla="*/ 237 h 327"/>
                <a:gd name="T16" fmla="*/ 169 w 292"/>
                <a:gd name="T17" fmla="*/ 248 h 327"/>
                <a:gd name="T18" fmla="*/ 152 w 292"/>
                <a:gd name="T19" fmla="*/ 259 h 327"/>
                <a:gd name="T20" fmla="*/ 132 w 292"/>
                <a:gd name="T21" fmla="*/ 267 h 327"/>
                <a:gd name="T22" fmla="*/ 109 w 292"/>
                <a:gd name="T23" fmla="*/ 273 h 327"/>
                <a:gd name="T24" fmla="*/ 85 w 292"/>
                <a:gd name="T25" fmla="*/ 309 h 327"/>
                <a:gd name="T26" fmla="*/ 72 w 292"/>
                <a:gd name="T27" fmla="*/ 324 h 327"/>
                <a:gd name="T28" fmla="*/ 64 w 292"/>
                <a:gd name="T29" fmla="*/ 320 h 327"/>
                <a:gd name="T30" fmla="*/ 53 w 292"/>
                <a:gd name="T31" fmla="*/ 304 h 327"/>
                <a:gd name="T32" fmla="*/ 56 w 292"/>
                <a:gd name="T33" fmla="*/ 280 h 327"/>
                <a:gd name="T34" fmla="*/ 61 w 292"/>
                <a:gd name="T35" fmla="*/ 262 h 327"/>
                <a:gd name="T36" fmla="*/ 56 w 292"/>
                <a:gd name="T37" fmla="*/ 244 h 327"/>
                <a:gd name="T38" fmla="*/ 41 w 292"/>
                <a:gd name="T39" fmla="*/ 241 h 327"/>
                <a:gd name="T40" fmla="*/ 23 w 292"/>
                <a:gd name="T41" fmla="*/ 244 h 327"/>
                <a:gd name="T42" fmla="*/ 7 w 292"/>
                <a:gd name="T43" fmla="*/ 235 h 327"/>
                <a:gd name="T44" fmla="*/ 4 w 292"/>
                <a:gd name="T45" fmla="*/ 211 h 327"/>
                <a:gd name="T46" fmla="*/ 5 w 292"/>
                <a:gd name="T47" fmla="*/ 193 h 327"/>
                <a:gd name="T48" fmla="*/ 5 w 292"/>
                <a:gd name="T49" fmla="*/ 172 h 327"/>
                <a:gd name="T50" fmla="*/ 11 w 292"/>
                <a:gd name="T51" fmla="*/ 151 h 327"/>
                <a:gd name="T52" fmla="*/ 11 w 292"/>
                <a:gd name="T53" fmla="*/ 135 h 327"/>
                <a:gd name="T54" fmla="*/ 15 w 292"/>
                <a:gd name="T55" fmla="*/ 119 h 327"/>
                <a:gd name="T56" fmla="*/ 16 w 292"/>
                <a:gd name="T57" fmla="*/ 106 h 327"/>
                <a:gd name="T58" fmla="*/ 15 w 292"/>
                <a:gd name="T59" fmla="*/ 87 h 327"/>
                <a:gd name="T60" fmla="*/ 16 w 292"/>
                <a:gd name="T61" fmla="*/ 78 h 327"/>
                <a:gd name="T62" fmla="*/ 24 w 292"/>
                <a:gd name="T63" fmla="*/ 54 h 327"/>
                <a:gd name="T64" fmla="*/ 28 w 292"/>
                <a:gd name="T65" fmla="*/ 33 h 327"/>
                <a:gd name="T66" fmla="*/ 33 w 292"/>
                <a:gd name="T67" fmla="*/ 12 h 327"/>
                <a:gd name="T68" fmla="*/ 50 w 292"/>
                <a:gd name="T69" fmla="*/ 6 h 327"/>
                <a:gd name="T70" fmla="*/ 66 w 292"/>
                <a:gd name="T71" fmla="*/ 9 h 327"/>
                <a:gd name="T72" fmla="*/ 76 w 292"/>
                <a:gd name="T73" fmla="*/ 0 h 327"/>
                <a:gd name="T74" fmla="*/ 86 w 292"/>
                <a:gd name="T75" fmla="*/ 21 h 327"/>
                <a:gd name="T76" fmla="*/ 86 w 292"/>
                <a:gd name="T77" fmla="*/ 38 h 327"/>
                <a:gd name="T78" fmla="*/ 95 w 292"/>
                <a:gd name="T79" fmla="*/ 51 h 327"/>
                <a:gd name="T80" fmla="*/ 116 w 292"/>
                <a:gd name="T81" fmla="*/ 54 h 327"/>
                <a:gd name="T82" fmla="*/ 129 w 292"/>
                <a:gd name="T83" fmla="*/ 66 h 327"/>
                <a:gd name="T84" fmla="*/ 149 w 292"/>
                <a:gd name="T85" fmla="*/ 53 h 327"/>
                <a:gd name="T86" fmla="*/ 159 w 292"/>
                <a:gd name="T87" fmla="*/ 42 h 327"/>
                <a:gd name="T88" fmla="*/ 168 w 292"/>
                <a:gd name="T89" fmla="*/ 45 h 327"/>
                <a:gd name="T90" fmla="*/ 194 w 292"/>
                <a:gd name="T91" fmla="*/ 53 h 327"/>
                <a:gd name="T92" fmla="*/ 197 w 292"/>
                <a:gd name="T93" fmla="*/ 71 h 327"/>
                <a:gd name="T94" fmla="*/ 213 w 292"/>
                <a:gd name="T95" fmla="*/ 82 h 327"/>
                <a:gd name="T96" fmla="*/ 220 w 292"/>
                <a:gd name="T97" fmla="*/ 105 h 327"/>
                <a:gd name="T98" fmla="*/ 218 w 292"/>
                <a:gd name="T99" fmla="*/ 120 h 327"/>
                <a:gd name="T100" fmla="*/ 219 w 292"/>
                <a:gd name="T101" fmla="*/ 136 h 327"/>
                <a:gd name="T102" fmla="*/ 239 w 292"/>
                <a:gd name="T103" fmla="*/ 142 h 327"/>
                <a:gd name="T104" fmla="*/ 248 w 292"/>
                <a:gd name="T105" fmla="*/ 152 h 327"/>
                <a:gd name="T106" fmla="*/ 262 w 292"/>
                <a:gd name="T107" fmla="*/ 158 h 327"/>
                <a:gd name="T108" fmla="*/ 284 w 292"/>
                <a:gd name="T109" fmla="*/ 169 h 327"/>
                <a:gd name="T110" fmla="*/ 284 w 292"/>
                <a:gd name="T111" fmla="*/ 239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2" h="327">
                  <a:moveTo>
                    <a:pt x="284" y="239"/>
                  </a:moveTo>
                  <a:lnTo>
                    <a:pt x="275" y="236"/>
                  </a:lnTo>
                  <a:lnTo>
                    <a:pt x="266" y="230"/>
                  </a:lnTo>
                  <a:lnTo>
                    <a:pt x="254" y="225"/>
                  </a:lnTo>
                  <a:lnTo>
                    <a:pt x="243" y="223"/>
                  </a:lnTo>
                  <a:lnTo>
                    <a:pt x="236" y="229"/>
                  </a:lnTo>
                  <a:lnTo>
                    <a:pt x="227" y="232"/>
                  </a:lnTo>
                  <a:lnTo>
                    <a:pt x="218" y="232"/>
                  </a:lnTo>
                  <a:lnTo>
                    <a:pt x="211" y="221"/>
                  </a:lnTo>
                  <a:lnTo>
                    <a:pt x="207" y="206"/>
                  </a:lnTo>
                  <a:lnTo>
                    <a:pt x="196" y="198"/>
                  </a:lnTo>
                  <a:lnTo>
                    <a:pt x="185" y="196"/>
                  </a:lnTo>
                  <a:lnTo>
                    <a:pt x="177" y="204"/>
                  </a:lnTo>
                  <a:lnTo>
                    <a:pt x="171" y="215"/>
                  </a:lnTo>
                  <a:lnTo>
                    <a:pt x="176" y="225"/>
                  </a:lnTo>
                  <a:lnTo>
                    <a:pt x="183" y="237"/>
                  </a:lnTo>
                  <a:lnTo>
                    <a:pt x="178" y="243"/>
                  </a:lnTo>
                  <a:lnTo>
                    <a:pt x="169" y="248"/>
                  </a:lnTo>
                  <a:lnTo>
                    <a:pt x="163" y="254"/>
                  </a:lnTo>
                  <a:lnTo>
                    <a:pt x="152" y="259"/>
                  </a:lnTo>
                  <a:lnTo>
                    <a:pt x="139" y="259"/>
                  </a:lnTo>
                  <a:lnTo>
                    <a:pt x="132" y="267"/>
                  </a:lnTo>
                  <a:lnTo>
                    <a:pt x="120" y="272"/>
                  </a:lnTo>
                  <a:lnTo>
                    <a:pt x="109" y="273"/>
                  </a:lnTo>
                  <a:lnTo>
                    <a:pt x="93" y="293"/>
                  </a:lnTo>
                  <a:lnTo>
                    <a:pt x="85" y="309"/>
                  </a:lnTo>
                  <a:lnTo>
                    <a:pt x="79" y="317"/>
                  </a:lnTo>
                  <a:lnTo>
                    <a:pt x="72" y="324"/>
                  </a:lnTo>
                  <a:lnTo>
                    <a:pt x="66" y="327"/>
                  </a:lnTo>
                  <a:lnTo>
                    <a:pt x="64" y="320"/>
                  </a:lnTo>
                  <a:lnTo>
                    <a:pt x="62" y="309"/>
                  </a:lnTo>
                  <a:lnTo>
                    <a:pt x="53" y="304"/>
                  </a:lnTo>
                  <a:lnTo>
                    <a:pt x="61" y="289"/>
                  </a:lnTo>
                  <a:lnTo>
                    <a:pt x="56" y="280"/>
                  </a:lnTo>
                  <a:lnTo>
                    <a:pt x="53" y="269"/>
                  </a:lnTo>
                  <a:lnTo>
                    <a:pt x="61" y="262"/>
                  </a:lnTo>
                  <a:lnTo>
                    <a:pt x="61" y="252"/>
                  </a:lnTo>
                  <a:lnTo>
                    <a:pt x="56" y="244"/>
                  </a:lnTo>
                  <a:lnTo>
                    <a:pt x="49" y="237"/>
                  </a:lnTo>
                  <a:lnTo>
                    <a:pt x="41" y="241"/>
                  </a:lnTo>
                  <a:lnTo>
                    <a:pt x="33" y="246"/>
                  </a:lnTo>
                  <a:lnTo>
                    <a:pt x="23" y="244"/>
                  </a:lnTo>
                  <a:lnTo>
                    <a:pt x="17" y="237"/>
                  </a:lnTo>
                  <a:lnTo>
                    <a:pt x="7" y="235"/>
                  </a:lnTo>
                  <a:lnTo>
                    <a:pt x="0" y="221"/>
                  </a:lnTo>
                  <a:lnTo>
                    <a:pt x="4" y="211"/>
                  </a:lnTo>
                  <a:lnTo>
                    <a:pt x="6" y="198"/>
                  </a:lnTo>
                  <a:lnTo>
                    <a:pt x="5" y="193"/>
                  </a:lnTo>
                  <a:lnTo>
                    <a:pt x="5" y="182"/>
                  </a:lnTo>
                  <a:lnTo>
                    <a:pt x="5" y="172"/>
                  </a:lnTo>
                  <a:lnTo>
                    <a:pt x="7" y="162"/>
                  </a:lnTo>
                  <a:lnTo>
                    <a:pt x="11" y="151"/>
                  </a:lnTo>
                  <a:lnTo>
                    <a:pt x="9" y="143"/>
                  </a:lnTo>
                  <a:lnTo>
                    <a:pt x="11" y="135"/>
                  </a:lnTo>
                  <a:lnTo>
                    <a:pt x="17" y="128"/>
                  </a:lnTo>
                  <a:lnTo>
                    <a:pt x="15" y="119"/>
                  </a:lnTo>
                  <a:lnTo>
                    <a:pt x="19" y="113"/>
                  </a:lnTo>
                  <a:lnTo>
                    <a:pt x="16" y="106"/>
                  </a:lnTo>
                  <a:lnTo>
                    <a:pt x="15" y="97"/>
                  </a:lnTo>
                  <a:lnTo>
                    <a:pt x="15" y="87"/>
                  </a:lnTo>
                  <a:lnTo>
                    <a:pt x="11" y="81"/>
                  </a:lnTo>
                  <a:lnTo>
                    <a:pt x="16" y="78"/>
                  </a:lnTo>
                  <a:lnTo>
                    <a:pt x="24" y="66"/>
                  </a:lnTo>
                  <a:lnTo>
                    <a:pt x="24" y="54"/>
                  </a:lnTo>
                  <a:lnTo>
                    <a:pt x="29" y="46"/>
                  </a:lnTo>
                  <a:lnTo>
                    <a:pt x="28" y="33"/>
                  </a:lnTo>
                  <a:lnTo>
                    <a:pt x="29" y="23"/>
                  </a:lnTo>
                  <a:lnTo>
                    <a:pt x="33" y="12"/>
                  </a:lnTo>
                  <a:lnTo>
                    <a:pt x="41" y="10"/>
                  </a:lnTo>
                  <a:lnTo>
                    <a:pt x="50" y="6"/>
                  </a:lnTo>
                  <a:lnTo>
                    <a:pt x="57" y="11"/>
                  </a:lnTo>
                  <a:lnTo>
                    <a:pt x="66" y="9"/>
                  </a:lnTo>
                  <a:lnTo>
                    <a:pt x="72" y="3"/>
                  </a:lnTo>
                  <a:lnTo>
                    <a:pt x="76" y="0"/>
                  </a:lnTo>
                  <a:lnTo>
                    <a:pt x="81" y="8"/>
                  </a:lnTo>
                  <a:lnTo>
                    <a:pt x="86" y="21"/>
                  </a:lnTo>
                  <a:lnTo>
                    <a:pt x="80" y="28"/>
                  </a:lnTo>
                  <a:lnTo>
                    <a:pt x="86" y="38"/>
                  </a:lnTo>
                  <a:lnTo>
                    <a:pt x="92" y="45"/>
                  </a:lnTo>
                  <a:lnTo>
                    <a:pt x="95" y="51"/>
                  </a:lnTo>
                  <a:lnTo>
                    <a:pt x="103" y="51"/>
                  </a:lnTo>
                  <a:lnTo>
                    <a:pt x="116" y="54"/>
                  </a:lnTo>
                  <a:lnTo>
                    <a:pt x="119" y="62"/>
                  </a:lnTo>
                  <a:lnTo>
                    <a:pt x="129" y="66"/>
                  </a:lnTo>
                  <a:lnTo>
                    <a:pt x="139" y="62"/>
                  </a:lnTo>
                  <a:lnTo>
                    <a:pt x="149" y="53"/>
                  </a:lnTo>
                  <a:lnTo>
                    <a:pt x="152" y="45"/>
                  </a:lnTo>
                  <a:lnTo>
                    <a:pt x="159" y="42"/>
                  </a:lnTo>
                  <a:lnTo>
                    <a:pt x="163" y="36"/>
                  </a:lnTo>
                  <a:lnTo>
                    <a:pt x="168" y="45"/>
                  </a:lnTo>
                  <a:lnTo>
                    <a:pt x="177" y="51"/>
                  </a:lnTo>
                  <a:lnTo>
                    <a:pt x="194" y="53"/>
                  </a:lnTo>
                  <a:lnTo>
                    <a:pt x="197" y="62"/>
                  </a:lnTo>
                  <a:lnTo>
                    <a:pt x="197" y="71"/>
                  </a:lnTo>
                  <a:lnTo>
                    <a:pt x="203" y="77"/>
                  </a:lnTo>
                  <a:lnTo>
                    <a:pt x="213" y="82"/>
                  </a:lnTo>
                  <a:lnTo>
                    <a:pt x="214" y="92"/>
                  </a:lnTo>
                  <a:lnTo>
                    <a:pt x="220" y="105"/>
                  </a:lnTo>
                  <a:lnTo>
                    <a:pt x="223" y="113"/>
                  </a:lnTo>
                  <a:lnTo>
                    <a:pt x="218" y="120"/>
                  </a:lnTo>
                  <a:lnTo>
                    <a:pt x="212" y="131"/>
                  </a:lnTo>
                  <a:lnTo>
                    <a:pt x="219" y="136"/>
                  </a:lnTo>
                  <a:lnTo>
                    <a:pt x="232" y="135"/>
                  </a:lnTo>
                  <a:lnTo>
                    <a:pt x="239" y="142"/>
                  </a:lnTo>
                  <a:lnTo>
                    <a:pt x="239" y="151"/>
                  </a:lnTo>
                  <a:lnTo>
                    <a:pt x="248" y="152"/>
                  </a:lnTo>
                  <a:lnTo>
                    <a:pt x="252" y="159"/>
                  </a:lnTo>
                  <a:lnTo>
                    <a:pt x="262" y="158"/>
                  </a:lnTo>
                  <a:lnTo>
                    <a:pt x="269" y="168"/>
                  </a:lnTo>
                  <a:lnTo>
                    <a:pt x="284" y="169"/>
                  </a:lnTo>
                  <a:lnTo>
                    <a:pt x="292" y="159"/>
                  </a:lnTo>
                  <a:lnTo>
                    <a:pt x="284" y="239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5A4A6466-CECA-4866-B7FA-E6290AD26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5" y="1620"/>
              <a:ext cx="481" cy="158"/>
            </a:xfrm>
            <a:custGeom>
              <a:avLst/>
              <a:gdLst>
                <a:gd name="T0" fmla="*/ 2 w 481"/>
                <a:gd name="T1" fmla="*/ 125 h 158"/>
                <a:gd name="T2" fmla="*/ 26 w 481"/>
                <a:gd name="T3" fmla="*/ 107 h 158"/>
                <a:gd name="T4" fmla="*/ 44 w 481"/>
                <a:gd name="T5" fmla="*/ 88 h 158"/>
                <a:gd name="T6" fmla="*/ 71 w 481"/>
                <a:gd name="T7" fmla="*/ 15 h 158"/>
                <a:gd name="T8" fmla="*/ 93 w 481"/>
                <a:gd name="T9" fmla="*/ 11 h 158"/>
                <a:gd name="T10" fmla="*/ 112 w 481"/>
                <a:gd name="T11" fmla="*/ 14 h 158"/>
                <a:gd name="T12" fmla="*/ 131 w 481"/>
                <a:gd name="T13" fmla="*/ 15 h 158"/>
                <a:gd name="T14" fmla="*/ 159 w 481"/>
                <a:gd name="T15" fmla="*/ 14 h 158"/>
                <a:gd name="T16" fmla="*/ 178 w 481"/>
                <a:gd name="T17" fmla="*/ 13 h 158"/>
                <a:gd name="T18" fmla="*/ 201 w 481"/>
                <a:gd name="T19" fmla="*/ 13 h 158"/>
                <a:gd name="T20" fmla="*/ 220 w 481"/>
                <a:gd name="T21" fmla="*/ 20 h 158"/>
                <a:gd name="T22" fmla="*/ 237 w 481"/>
                <a:gd name="T23" fmla="*/ 13 h 158"/>
                <a:gd name="T24" fmla="*/ 252 w 481"/>
                <a:gd name="T25" fmla="*/ 6 h 158"/>
                <a:gd name="T26" fmla="*/ 272 w 481"/>
                <a:gd name="T27" fmla="*/ 10 h 158"/>
                <a:gd name="T28" fmla="*/ 283 w 481"/>
                <a:gd name="T29" fmla="*/ 6 h 158"/>
                <a:gd name="T30" fmla="*/ 302 w 481"/>
                <a:gd name="T31" fmla="*/ 11 h 158"/>
                <a:gd name="T32" fmla="*/ 323 w 481"/>
                <a:gd name="T33" fmla="*/ 15 h 158"/>
                <a:gd name="T34" fmla="*/ 343 w 481"/>
                <a:gd name="T35" fmla="*/ 21 h 158"/>
                <a:gd name="T36" fmla="*/ 367 w 481"/>
                <a:gd name="T37" fmla="*/ 17 h 158"/>
                <a:gd name="T38" fmla="*/ 476 w 481"/>
                <a:gd name="T39" fmla="*/ 148 h 158"/>
                <a:gd name="T40" fmla="*/ 461 w 481"/>
                <a:gd name="T41" fmla="*/ 153 h 158"/>
                <a:gd name="T42" fmla="*/ 433 w 481"/>
                <a:gd name="T43" fmla="*/ 153 h 158"/>
                <a:gd name="T44" fmla="*/ 410 w 481"/>
                <a:gd name="T45" fmla="*/ 149 h 158"/>
                <a:gd name="T46" fmla="*/ 397 w 481"/>
                <a:gd name="T47" fmla="*/ 139 h 158"/>
                <a:gd name="T48" fmla="*/ 382 w 481"/>
                <a:gd name="T49" fmla="*/ 131 h 158"/>
                <a:gd name="T50" fmla="*/ 359 w 481"/>
                <a:gd name="T51" fmla="*/ 118 h 158"/>
                <a:gd name="T52" fmla="*/ 329 w 481"/>
                <a:gd name="T53" fmla="*/ 114 h 158"/>
                <a:gd name="T54" fmla="*/ 304 w 481"/>
                <a:gd name="T55" fmla="*/ 129 h 158"/>
                <a:gd name="T56" fmla="*/ 281 w 481"/>
                <a:gd name="T57" fmla="*/ 130 h 158"/>
                <a:gd name="T58" fmla="*/ 246 w 481"/>
                <a:gd name="T59" fmla="*/ 129 h 158"/>
                <a:gd name="T60" fmla="*/ 220 w 481"/>
                <a:gd name="T61" fmla="*/ 124 h 158"/>
                <a:gd name="T62" fmla="*/ 194 w 481"/>
                <a:gd name="T63" fmla="*/ 121 h 158"/>
                <a:gd name="T64" fmla="*/ 172 w 481"/>
                <a:gd name="T65" fmla="*/ 131 h 158"/>
                <a:gd name="T66" fmla="*/ 151 w 481"/>
                <a:gd name="T67" fmla="*/ 136 h 158"/>
                <a:gd name="T68" fmla="*/ 127 w 481"/>
                <a:gd name="T69" fmla="*/ 132 h 158"/>
                <a:gd name="T70" fmla="*/ 103 w 481"/>
                <a:gd name="T71" fmla="*/ 137 h 158"/>
                <a:gd name="T72" fmla="*/ 89 w 481"/>
                <a:gd name="T73" fmla="*/ 143 h 158"/>
                <a:gd name="T74" fmla="*/ 64 w 481"/>
                <a:gd name="T75" fmla="*/ 146 h 158"/>
                <a:gd name="T76" fmla="*/ 41 w 481"/>
                <a:gd name="T77" fmla="*/ 158 h 158"/>
                <a:gd name="T78" fmla="*/ 28 w 481"/>
                <a:gd name="T79" fmla="*/ 153 h 158"/>
                <a:gd name="T80" fmla="*/ 20 w 481"/>
                <a:gd name="T81" fmla="*/ 139 h 158"/>
                <a:gd name="T82" fmla="*/ 0 w 481"/>
                <a:gd name="T83" fmla="*/ 13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81" h="158">
                  <a:moveTo>
                    <a:pt x="0" y="137"/>
                  </a:moveTo>
                  <a:lnTo>
                    <a:pt x="2" y="125"/>
                  </a:lnTo>
                  <a:lnTo>
                    <a:pt x="12" y="116"/>
                  </a:lnTo>
                  <a:lnTo>
                    <a:pt x="26" y="107"/>
                  </a:lnTo>
                  <a:lnTo>
                    <a:pt x="38" y="99"/>
                  </a:lnTo>
                  <a:lnTo>
                    <a:pt x="44" y="88"/>
                  </a:lnTo>
                  <a:lnTo>
                    <a:pt x="43" y="76"/>
                  </a:lnTo>
                  <a:lnTo>
                    <a:pt x="71" y="15"/>
                  </a:lnTo>
                  <a:lnTo>
                    <a:pt x="86" y="17"/>
                  </a:lnTo>
                  <a:lnTo>
                    <a:pt x="93" y="11"/>
                  </a:lnTo>
                  <a:lnTo>
                    <a:pt x="102" y="7"/>
                  </a:lnTo>
                  <a:lnTo>
                    <a:pt x="112" y="14"/>
                  </a:lnTo>
                  <a:lnTo>
                    <a:pt x="123" y="10"/>
                  </a:lnTo>
                  <a:lnTo>
                    <a:pt x="131" y="15"/>
                  </a:lnTo>
                  <a:lnTo>
                    <a:pt x="145" y="10"/>
                  </a:lnTo>
                  <a:lnTo>
                    <a:pt x="159" y="14"/>
                  </a:lnTo>
                  <a:lnTo>
                    <a:pt x="168" y="17"/>
                  </a:lnTo>
                  <a:lnTo>
                    <a:pt x="178" y="13"/>
                  </a:lnTo>
                  <a:lnTo>
                    <a:pt x="186" y="15"/>
                  </a:lnTo>
                  <a:lnTo>
                    <a:pt x="201" y="13"/>
                  </a:lnTo>
                  <a:lnTo>
                    <a:pt x="209" y="18"/>
                  </a:lnTo>
                  <a:lnTo>
                    <a:pt x="220" y="20"/>
                  </a:lnTo>
                  <a:lnTo>
                    <a:pt x="228" y="15"/>
                  </a:lnTo>
                  <a:lnTo>
                    <a:pt x="237" y="13"/>
                  </a:lnTo>
                  <a:lnTo>
                    <a:pt x="244" y="10"/>
                  </a:lnTo>
                  <a:lnTo>
                    <a:pt x="252" y="6"/>
                  </a:lnTo>
                  <a:lnTo>
                    <a:pt x="264" y="4"/>
                  </a:lnTo>
                  <a:lnTo>
                    <a:pt x="272" y="10"/>
                  </a:lnTo>
                  <a:lnTo>
                    <a:pt x="274" y="0"/>
                  </a:lnTo>
                  <a:lnTo>
                    <a:pt x="283" y="6"/>
                  </a:lnTo>
                  <a:lnTo>
                    <a:pt x="294" y="4"/>
                  </a:lnTo>
                  <a:lnTo>
                    <a:pt x="302" y="11"/>
                  </a:lnTo>
                  <a:lnTo>
                    <a:pt x="310" y="13"/>
                  </a:lnTo>
                  <a:lnTo>
                    <a:pt x="323" y="15"/>
                  </a:lnTo>
                  <a:lnTo>
                    <a:pt x="333" y="22"/>
                  </a:lnTo>
                  <a:lnTo>
                    <a:pt x="343" y="21"/>
                  </a:lnTo>
                  <a:lnTo>
                    <a:pt x="350" y="17"/>
                  </a:lnTo>
                  <a:lnTo>
                    <a:pt x="367" y="17"/>
                  </a:lnTo>
                  <a:lnTo>
                    <a:pt x="481" y="137"/>
                  </a:lnTo>
                  <a:lnTo>
                    <a:pt x="476" y="148"/>
                  </a:lnTo>
                  <a:lnTo>
                    <a:pt x="466" y="148"/>
                  </a:lnTo>
                  <a:lnTo>
                    <a:pt x="461" y="153"/>
                  </a:lnTo>
                  <a:lnTo>
                    <a:pt x="446" y="153"/>
                  </a:lnTo>
                  <a:lnTo>
                    <a:pt x="433" y="153"/>
                  </a:lnTo>
                  <a:lnTo>
                    <a:pt x="423" y="149"/>
                  </a:lnTo>
                  <a:lnTo>
                    <a:pt x="410" y="149"/>
                  </a:lnTo>
                  <a:lnTo>
                    <a:pt x="406" y="143"/>
                  </a:lnTo>
                  <a:lnTo>
                    <a:pt x="397" y="139"/>
                  </a:lnTo>
                  <a:lnTo>
                    <a:pt x="387" y="139"/>
                  </a:lnTo>
                  <a:lnTo>
                    <a:pt x="382" y="131"/>
                  </a:lnTo>
                  <a:lnTo>
                    <a:pt x="375" y="124"/>
                  </a:lnTo>
                  <a:lnTo>
                    <a:pt x="359" y="118"/>
                  </a:lnTo>
                  <a:lnTo>
                    <a:pt x="347" y="120"/>
                  </a:lnTo>
                  <a:lnTo>
                    <a:pt x="329" y="114"/>
                  </a:lnTo>
                  <a:lnTo>
                    <a:pt x="317" y="120"/>
                  </a:lnTo>
                  <a:lnTo>
                    <a:pt x="304" y="129"/>
                  </a:lnTo>
                  <a:lnTo>
                    <a:pt x="292" y="125"/>
                  </a:lnTo>
                  <a:lnTo>
                    <a:pt x="281" y="130"/>
                  </a:lnTo>
                  <a:lnTo>
                    <a:pt x="264" y="127"/>
                  </a:lnTo>
                  <a:lnTo>
                    <a:pt x="246" y="129"/>
                  </a:lnTo>
                  <a:lnTo>
                    <a:pt x="233" y="127"/>
                  </a:lnTo>
                  <a:lnTo>
                    <a:pt x="220" y="124"/>
                  </a:lnTo>
                  <a:lnTo>
                    <a:pt x="209" y="129"/>
                  </a:lnTo>
                  <a:lnTo>
                    <a:pt x="194" y="121"/>
                  </a:lnTo>
                  <a:lnTo>
                    <a:pt x="184" y="127"/>
                  </a:lnTo>
                  <a:lnTo>
                    <a:pt x="172" y="131"/>
                  </a:lnTo>
                  <a:lnTo>
                    <a:pt x="160" y="130"/>
                  </a:lnTo>
                  <a:lnTo>
                    <a:pt x="151" y="136"/>
                  </a:lnTo>
                  <a:lnTo>
                    <a:pt x="136" y="136"/>
                  </a:lnTo>
                  <a:lnTo>
                    <a:pt x="127" y="132"/>
                  </a:lnTo>
                  <a:lnTo>
                    <a:pt x="113" y="132"/>
                  </a:lnTo>
                  <a:lnTo>
                    <a:pt x="103" y="137"/>
                  </a:lnTo>
                  <a:lnTo>
                    <a:pt x="93" y="137"/>
                  </a:lnTo>
                  <a:lnTo>
                    <a:pt x="89" y="143"/>
                  </a:lnTo>
                  <a:lnTo>
                    <a:pt x="73" y="143"/>
                  </a:lnTo>
                  <a:lnTo>
                    <a:pt x="64" y="146"/>
                  </a:lnTo>
                  <a:lnTo>
                    <a:pt x="52" y="153"/>
                  </a:lnTo>
                  <a:lnTo>
                    <a:pt x="41" y="158"/>
                  </a:lnTo>
                  <a:lnTo>
                    <a:pt x="35" y="153"/>
                  </a:lnTo>
                  <a:lnTo>
                    <a:pt x="28" y="153"/>
                  </a:lnTo>
                  <a:lnTo>
                    <a:pt x="23" y="146"/>
                  </a:lnTo>
                  <a:lnTo>
                    <a:pt x="20" y="139"/>
                  </a:lnTo>
                  <a:lnTo>
                    <a:pt x="12" y="136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E3A30338-6C29-4934-8282-CC2CE530A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5" y="1620"/>
              <a:ext cx="481" cy="158"/>
            </a:xfrm>
            <a:custGeom>
              <a:avLst/>
              <a:gdLst>
                <a:gd name="T0" fmla="*/ 2 w 481"/>
                <a:gd name="T1" fmla="*/ 125 h 158"/>
                <a:gd name="T2" fmla="*/ 26 w 481"/>
                <a:gd name="T3" fmla="*/ 107 h 158"/>
                <a:gd name="T4" fmla="*/ 44 w 481"/>
                <a:gd name="T5" fmla="*/ 88 h 158"/>
                <a:gd name="T6" fmla="*/ 71 w 481"/>
                <a:gd name="T7" fmla="*/ 15 h 158"/>
                <a:gd name="T8" fmla="*/ 93 w 481"/>
                <a:gd name="T9" fmla="*/ 11 h 158"/>
                <a:gd name="T10" fmla="*/ 112 w 481"/>
                <a:gd name="T11" fmla="*/ 14 h 158"/>
                <a:gd name="T12" fmla="*/ 131 w 481"/>
                <a:gd name="T13" fmla="*/ 15 h 158"/>
                <a:gd name="T14" fmla="*/ 159 w 481"/>
                <a:gd name="T15" fmla="*/ 14 h 158"/>
                <a:gd name="T16" fmla="*/ 178 w 481"/>
                <a:gd name="T17" fmla="*/ 13 h 158"/>
                <a:gd name="T18" fmla="*/ 201 w 481"/>
                <a:gd name="T19" fmla="*/ 13 h 158"/>
                <a:gd name="T20" fmla="*/ 220 w 481"/>
                <a:gd name="T21" fmla="*/ 20 h 158"/>
                <a:gd name="T22" fmla="*/ 237 w 481"/>
                <a:gd name="T23" fmla="*/ 13 h 158"/>
                <a:gd name="T24" fmla="*/ 252 w 481"/>
                <a:gd name="T25" fmla="*/ 6 h 158"/>
                <a:gd name="T26" fmla="*/ 272 w 481"/>
                <a:gd name="T27" fmla="*/ 10 h 158"/>
                <a:gd name="T28" fmla="*/ 283 w 481"/>
                <a:gd name="T29" fmla="*/ 6 h 158"/>
                <a:gd name="T30" fmla="*/ 302 w 481"/>
                <a:gd name="T31" fmla="*/ 11 h 158"/>
                <a:gd name="T32" fmla="*/ 323 w 481"/>
                <a:gd name="T33" fmla="*/ 15 h 158"/>
                <a:gd name="T34" fmla="*/ 343 w 481"/>
                <a:gd name="T35" fmla="*/ 21 h 158"/>
                <a:gd name="T36" fmla="*/ 367 w 481"/>
                <a:gd name="T37" fmla="*/ 17 h 158"/>
                <a:gd name="T38" fmla="*/ 476 w 481"/>
                <a:gd name="T39" fmla="*/ 148 h 158"/>
                <a:gd name="T40" fmla="*/ 461 w 481"/>
                <a:gd name="T41" fmla="*/ 153 h 158"/>
                <a:gd name="T42" fmla="*/ 433 w 481"/>
                <a:gd name="T43" fmla="*/ 153 h 158"/>
                <a:gd name="T44" fmla="*/ 410 w 481"/>
                <a:gd name="T45" fmla="*/ 149 h 158"/>
                <a:gd name="T46" fmla="*/ 397 w 481"/>
                <a:gd name="T47" fmla="*/ 139 h 158"/>
                <a:gd name="T48" fmla="*/ 382 w 481"/>
                <a:gd name="T49" fmla="*/ 131 h 158"/>
                <a:gd name="T50" fmla="*/ 359 w 481"/>
                <a:gd name="T51" fmla="*/ 118 h 158"/>
                <a:gd name="T52" fmla="*/ 329 w 481"/>
                <a:gd name="T53" fmla="*/ 114 h 158"/>
                <a:gd name="T54" fmla="*/ 304 w 481"/>
                <a:gd name="T55" fmla="*/ 129 h 158"/>
                <a:gd name="T56" fmla="*/ 281 w 481"/>
                <a:gd name="T57" fmla="*/ 130 h 158"/>
                <a:gd name="T58" fmla="*/ 246 w 481"/>
                <a:gd name="T59" fmla="*/ 129 h 158"/>
                <a:gd name="T60" fmla="*/ 220 w 481"/>
                <a:gd name="T61" fmla="*/ 124 h 158"/>
                <a:gd name="T62" fmla="*/ 194 w 481"/>
                <a:gd name="T63" fmla="*/ 121 h 158"/>
                <a:gd name="T64" fmla="*/ 172 w 481"/>
                <a:gd name="T65" fmla="*/ 131 h 158"/>
                <a:gd name="T66" fmla="*/ 151 w 481"/>
                <a:gd name="T67" fmla="*/ 136 h 158"/>
                <a:gd name="T68" fmla="*/ 127 w 481"/>
                <a:gd name="T69" fmla="*/ 132 h 158"/>
                <a:gd name="T70" fmla="*/ 103 w 481"/>
                <a:gd name="T71" fmla="*/ 137 h 158"/>
                <a:gd name="T72" fmla="*/ 89 w 481"/>
                <a:gd name="T73" fmla="*/ 143 h 158"/>
                <a:gd name="T74" fmla="*/ 64 w 481"/>
                <a:gd name="T75" fmla="*/ 146 h 158"/>
                <a:gd name="T76" fmla="*/ 41 w 481"/>
                <a:gd name="T77" fmla="*/ 158 h 158"/>
                <a:gd name="T78" fmla="*/ 28 w 481"/>
                <a:gd name="T79" fmla="*/ 153 h 158"/>
                <a:gd name="T80" fmla="*/ 20 w 481"/>
                <a:gd name="T81" fmla="*/ 139 h 158"/>
                <a:gd name="T82" fmla="*/ 0 w 481"/>
                <a:gd name="T83" fmla="*/ 13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81" h="158">
                  <a:moveTo>
                    <a:pt x="0" y="137"/>
                  </a:moveTo>
                  <a:lnTo>
                    <a:pt x="2" y="125"/>
                  </a:lnTo>
                  <a:lnTo>
                    <a:pt x="12" y="116"/>
                  </a:lnTo>
                  <a:lnTo>
                    <a:pt x="26" y="107"/>
                  </a:lnTo>
                  <a:lnTo>
                    <a:pt x="38" y="99"/>
                  </a:lnTo>
                  <a:lnTo>
                    <a:pt x="44" y="88"/>
                  </a:lnTo>
                  <a:lnTo>
                    <a:pt x="43" y="76"/>
                  </a:lnTo>
                  <a:lnTo>
                    <a:pt x="71" y="15"/>
                  </a:lnTo>
                  <a:lnTo>
                    <a:pt x="86" y="17"/>
                  </a:lnTo>
                  <a:lnTo>
                    <a:pt x="93" y="11"/>
                  </a:lnTo>
                  <a:lnTo>
                    <a:pt x="102" y="7"/>
                  </a:lnTo>
                  <a:lnTo>
                    <a:pt x="112" y="14"/>
                  </a:lnTo>
                  <a:lnTo>
                    <a:pt x="123" y="10"/>
                  </a:lnTo>
                  <a:lnTo>
                    <a:pt x="131" y="15"/>
                  </a:lnTo>
                  <a:lnTo>
                    <a:pt x="145" y="10"/>
                  </a:lnTo>
                  <a:lnTo>
                    <a:pt x="159" y="14"/>
                  </a:lnTo>
                  <a:lnTo>
                    <a:pt x="168" y="17"/>
                  </a:lnTo>
                  <a:lnTo>
                    <a:pt x="178" y="13"/>
                  </a:lnTo>
                  <a:lnTo>
                    <a:pt x="186" y="15"/>
                  </a:lnTo>
                  <a:lnTo>
                    <a:pt x="201" y="13"/>
                  </a:lnTo>
                  <a:lnTo>
                    <a:pt x="209" y="18"/>
                  </a:lnTo>
                  <a:lnTo>
                    <a:pt x="220" y="20"/>
                  </a:lnTo>
                  <a:lnTo>
                    <a:pt x="228" y="15"/>
                  </a:lnTo>
                  <a:lnTo>
                    <a:pt x="237" y="13"/>
                  </a:lnTo>
                  <a:lnTo>
                    <a:pt x="244" y="10"/>
                  </a:lnTo>
                  <a:lnTo>
                    <a:pt x="252" y="6"/>
                  </a:lnTo>
                  <a:lnTo>
                    <a:pt x="264" y="4"/>
                  </a:lnTo>
                  <a:lnTo>
                    <a:pt x="272" y="10"/>
                  </a:lnTo>
                  <a:lnTo>
                    <a:pt x="274" y="0"/>
                  </a:lnTo>
                  <a:lnTo>
                    <a:pt x="283" y="6"/>
                  </a:lnTo>
                  <a:lnTo>
                    <a:pt x="294" y="4"/>
                  </a:lnTo>
                  <a:lnTo>
                    <a:pt x="302" y="11"/>
                  </a:lnTo>
                  <a:lnTo>
                    <a:pt x="310" y="13"/>
                  </a:lnTo>
                  <a:lnTo>
                    <a:pt x="323" y="15"/>
                  </a:lnTo>
                  <a:lnTo>
                    <a:pt x="333" y="22"/>
                  </a:lnTo>
                  <a:lnTo>
                    <a:pt x="343" y="21"/>
                  </a:lnTo>
                  <a:lnTo>
                    <a:pt x="350" y="17"/>
                  </a:lnTo>
                  <a:lnTo>
                    <a:pt x="367" y="17"/>
                  </a:lnTo>
                  <a:lnTo>
                    <a:pt x="481" y="137"/>
                  </a:lnTo>
                  <a:lnTo>
                    <a:pt x="476" y="148"/>
                  </a:lnTo>
                  <a:lnTo>
                    <a:pt x="466" y="148"/>
                  </a:lnTo>
                  <a:lnTo>
                    <a:pt x="461" y="153"/>
                  </a:lnTo>
                  <a:lnTo>
                    <a:pt x="446" y="153"/>
                  </a:lnTo>
                  <a:lnTo>
                    <a:pt x="433" y="153"/>
                  </a:lnTo>
                  <a:lnTo>
                    <a:pt x="423" y="149"/>
                  </a:lnTo>
                  <a:lnTo>
                    <a:pt x="410" y="149"/>
                  </a:lnTo>
                  <a:lnTo>
                    <a:pt x="406" y="143"/>
                  </a:lnTo>
                  <a:lnTo>
                    <a:pt x="397" y="139"/>
                  </a:lnTo>
                  <a:lnTo>
                    <a:pt x="387" y="139"/>
                  </a:lnTo>
                  <a:lnTo>
                    <a:pt x="382" y="131"/>
                  </a:lnTo>
                  <a:lnTo>
                    <a:pt x="375" y="124"/>
                  </a:lnTo>
                  <a:lnTo>
                    <a:pt x="359" y="118"/>
                  </a:lnTo>
                  <a:lnTo>
                    <a:pt x="347" y="120"/>
                  </a:lnTo>
                  <a:lnTo>
                    <a:pt x="329" y="114"/>
                  </a:lnTo>
                  <a:lnTo>
                    <a:pt x="317" y="120"/>
                  </a:lnTo>
                  <a:lnTo>
                    <a:pt x="304" y="129"/>
                  </a:lnTo>
                  <a:lnTo>
                    <a:pt x="292" y="125"/>
                  </a:lnTo>
                  <a:lnTo>
                    <a:pt x="281" y="130"/>
                  </a:lnTo>
                  <a:lnTo>
                    <a:pt x="264" y="127"/>
                  </a:lnTo>
                  <a:lnTo>
                    <a:pt x="246" y="129"/>
                  </a:lnTo>
                  <a:lnTo>
                    <a:pt x="233" y="127"/>
                  </a:lnTo>
                  <a:lnTo>
                    <a:pt x="220" y="124"/>
                  </a:lnTo>
                  <a:lnTo>
                    <a:pt x="209" y="129"/>
                  </a:lnTo>
                  <a:lnTo>
                    <a:pt x="194" y="121"/>
                  </a:lnTo>
                  <a:lnTo>
                    <a:pt x="184" y="127"/>
                  </a:lnTo>
                  <a:lnTo>
                    <a:pt x="172" y="131"/>
                  </a:lnTo>
                  <a:lnTo>
                    <a:pt x="160" y="130"/>
                  </a:lnTo>
                  <a:lnTo>
                    <a:pt x="151" y="136"/>
                  </a:lnTo>
                  <a:lnTo>
                    <a:pt x="136" y="136"/>
                  </a:lnTo>
                  <a:lnTo>
                    <a:pt x="127" y="132"/>
                  </a:lnTo>
                  <a:lnTo>
                    <a:pt x="113" y="132"/>
                  </a:lnTo>
                  <a:lnTo>
                    <a:pt x="103" y="137"/>
                  </a:lnTo>
                  <a:lnTo>
                    <a:pt x="93" y="137"/>
                  </a:lnTo>
                  <a:lnTo>
                    <a:pt x="89" y="143"/>
                  </a:lnTo>
                  <a:lnTo>
                    <a:pt x="73" y="143"/>
                  </a:lnTo>
                  <a:lnTo>
                    <a:pt x="64" y="146"/>
                  </a:lnTo>
                  <a:lnTo>
                    <a:pt x="52" y="153"/>
                  </a:lnTo>
                  <a:lnTo>
                    <a:pt x="41" y="158"/>
                  </a:lnTo>
                  <a:lnTo>
                    <a:pt x="35" y="153"/>
                  </a:lnTo>
                  <a:lnTo>
                    <a:pt x="28" y="153"/>
                  </a:lnTo>
                  <a:lnTo>
                    <a:pt x="23" y="146"/>
                  </a:lnTo>
                  <a:lnTo>
                    <a:pt x="20" y="139"/>
                  </a:lnTo>
                  <a:lnTo>
                    <a:pt x="12" y="136"/>
                  </a:lnTo>
                  <a:lnTo>
                    <a:pt x="0" y="137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3B9FCA3F-A7F8-4DD0-BD59-58FCDC55E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6" y="2049"/>
              <a:ext cx="670" cy="428"/>
            </a:xfrm>
            <a:custGeom>
              <a:avLst/>
              <a:gdLst>
                <a:gd name="T0" fmla="*/ 518 w 670"/>
                <a:gd name="T1" fmla="*/ 24 h 428"/>
                <a:gd name="T2" fmla="*/ 537 w 670"/>
                <a:gd name="T3" fmla="*/ 36 h 428"/>
                <a:gd name="T4" fmla="*/ 547 w 670"/>
                <a:gd name="T5" fmla="*/ 67 h 428"/>
                <a:gd name="T6" fmla="*/ 567 w 670"/>
                <a:gd name="T7" fmla="*/ 86 h 428"/>
                <a:gd name="T8" fmla="*/ 545 w 670"/>
                <a:gd name="T9" fmla="*/ 109 h 428"/>
                <a:gd name="T10" fmla="*/ 494 w 670"/>
                <a:gd name="T11" fmla="*/ 175 h 428"/>
                <a:gd name="T12" fmla="*/ 524 w 670"/>
                <a:gd name="T13" fmla="*/ 180 h 428"/>
                <a:gd name="T14" fmla="*/ 543 w 670"/>
                <a:gd name="T15" fmla="*/ 197 h 428"/>
                <a:gd name="T16" fmla="*/ 564 w 670"/>
                <a:gd name="T17" fmla="*/ 217 h 428"/>
                <a:gd name="T18" fmla="*/ 591 w 670"/>
                <a:gd name="T19" fmla="*/ 238 h 428"/>
                <a:gd name="T20" fmla="*/ 601 w 670"/>
                <a:gd name="T21" fmla="*/ 269 h 428"/>
                <a:gd name="T22" fmla="*/ 619 w 670"/>
                <a:gd name="T23" fmla="*/ 287 h 428"/>
                <a:gd name="T24" fmla="*/ 627 w 670"/>
                <a:gd name="T25" fmla="*/ 320 h 428"/>
                <a:gd name="T26" fmla="*/ 644 w 670"/>
                <a:gd name="T27" fmla="*/ 344 h 428"/>
                <a:gd name="T28" fmla="*/ 651 w 670"/>
                <a:gd name="T29" fmla="*/ 371 h 428"/>
                <a:gd name="T30" fmla="*/ 670 w 670"/>
                <a:gd name="T31" fmla="*/ 402 h 428"/>
                <a:gd name="T32" fmla="*/ 645 w 670"/>
                <a:gd name="T33" fmla="*/ 428 h 428"/>
                <a:gd name="T34" fmla="*/ 630 w 670"/>
                <a:gd name="T35" fmla="*/ 394 h 428"/>
                <a:gd name="T36" fmla="*/ 607 w 670"/>
                <a:gd name="T37" fmla="*/ 337 h 428"/>
                <a:gd name="T38" fmla="*/ 572 w 670"/>
                <a:gd name="T39" fmla="*/ 287 h 428"/>
                <a:gd name="T40" fmla="*/ 520 w 670"/>
                <a:gd name="T41" fmla="*/ 305 h 428"/>
                <a:gd name="T42" fmla="*/ 485 w 670"/>
                <a:gd name="T43" fmla="*/ 347 h 428"/>
                <a:gd name="T44" fmla="*/ 464 w 670"/>
                <a:gd name="T45" fmla="*/ 336 h 428"/>
                <a:gd name="T46" fmla="*/ 435 w 670"/>
                <a:gd name="T47" fmla="*/ 332 h 428"/>
                <a:gd name="T48" fmla="*/ 449 w 670"/>
                <a:gd name="T49" fmla="*/ 357 h 428"/>
                <a:gd name="T50" fmla="*/ 211 w 670"/>
                <a:gd name="T51" fmla="*/ 359 h 428"/>
                <a:gd name="T52" fmla="*/ 177 w 670"/>
                <a:gd name="T53" fmla="*/ 371 h 428"/>
                <a:gd name="T54" fmla="*/ 143 w 670"/>
                <a:gd name="T55" fmla="*/ 365 h 428"/>
                <a:gd name="T56" fmla="*/ 112 w 670"/>
                <a:gd name="T57" fmla="*/ 344 h 428"/>
                <a:gd name="T58" fmla="*/ 120 w 670"/>
                <a:gd name="T59" fmla="*/ 315 h 428"/>
                <a:gd name="T60" fmla="*/ 137 w 670"/>
                <a:gd name="T61" fmla="*/ 287 h 428"/>
                <a:gd name="T62" fmla="*/ 110 w 670"/>
                <a:gd name="T63" fmla="*/ 293 h 428"/>
                <a:gd name="T64" fmla="*/ 63 w 670"/>
                <a:gd name="T65" fmla="*/ 299 h 428"/>
                <a:gd name="T66" fmla="*/ 35 w 670"/>
                <a:gd name="T67" fmla="*/ 275 h 428"/>
                <a:gd name="T68" fmla="*/ 7 w 670"/>
                <a:gd name="T69" fmla="*/ 254 h 428"/>
                <a:gd name="T70" fmla="*/ 74 w 670"/>
                <a:gd name="T71" fmla="*/ 205 h 428"/>
                <a:gd name="T72" fmla="*/ 91 w 670"/>
                <a:gd name="T73" fmla="*/ 177 h 428"/>
                <a:gd name="T74" fmla="*/ 104 w 670"/>
                <a:gd name="T75" fmla="*/ 151 h 428"/>
                <a:gd name="T76" fmla="*/ 108 w 670"/>
                <a:gd name="T77" fmla="*/ 132 h 428"/>
                <a:gd name="T78" fmla="*/ 138 w 670"/>
                <a:gd name="T79" fmla="*/ 125 h 428"/>
                <a:gd name="T80" fmla="*/ 156 w 670"/>
                <a:gd name="T81" fmla="*/ 110 h 428"/>
                <a:gd name="T82" fmla="*/ 177 w 670"/>
                <a:gd name="T83" fmla="*/ 96 h 428"/>
                <a:gd name="T84" fmla="*/ 200 w 670"/>
                <a:gd name="T85" fmla="*/ 85 h 428"/>
                <a:gd name="T86" fmla="*/ 220 w 670"/>
                <a:gd name="T87" fmla="*/ 71 h 428"/>
                <a:gd name="T88" fmla="*/ 256 w 670"/>
                <a:gd name="T89" fmla="*/ 77 h 428"/>
                <a:gd name="T90" fmla="*/ 284 w 670"/>
                <a:gd name="T91" fmla="*/ 79 h 428"/>
                <a:gd name="T92" fmla="*/ 318 w 670"/>
                <a:gd name="T93" fmla="*/ 65 h 428"/>
                <a:gd name="T94" fmla="*/ 351 w 670"/>
                <a:gd name="T95" fmla="*/ 55 h 428"/>
                <a:gd name="T96" fmla="*/ 399 w 670"/>
                <a:gd name="T97" fmla="*/ 40 h 428"/>
                <a:gd name="T98" fmla="*/ 418 w 670"/>
                <a:gd name="T99" fmla="*/ 24 h 428"/>
                <a:gd name="T100" fmla="*/ 452 w 670"/>
                <a:gd name="T101" fmla="*/ 24 h 428"/>
                <a:gd name="T102" fmla="*/ 496 w 670"/>
                <a:gd name="T103" fmla="*/ 14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70" h="428">
                  <a:moveTo>
                    <a:pt x="507" y="0"/>
                  </a:moveTo>
                  <a:lnTo>
                    <a:pt x="512" y="8"/>
                  </a:lnTo>
                  <a:lnTo>
                    <a:pt x="512" y="17"/>
                  </a:lnTo>
                  <a:lnTo>
                    <a:pt x="518" y="24"/>
                  </a:lnTo>
                  <a:lnTo>
                    <a:pt x="525" y="29"/>
                  </a:lnTo>
                  <a:lnTo>
                    <a:pt x="536" y="23"/>
                  </a:lnTo>
                  <a:lnTo>
                    <a:pt x="542" y="32"/>
                  </a:lnTo>
                  <a:lnTo>
                    <a:pt x="537" y="36"/>
                  </a:lnTo>
                  <a:lnTo>
                    <a:pt x="538" y="47"/>
                  </a:lnTo>
                  <a:lnTo>
                    <a:pt x="541" y="53"/>
                  </a:lnTo>
                  <a:lnTo>
                    <a:pt x="547" y="55"/>
                  </a:lnTo>
                  <a:lnTo>
                    <a:pt x="547" y="67"/>
                  </a:lnTo>
                  <a:lnTo>
                    <a:pt x="554" y="71"/>
                  </a:lnTo>
                  <a:lnTo>
                    <a:pt x="556" y="76"/>
                  </a:lnTo>
                  <a:lnTo>
                    <a:pt x="566" y="79"/>
                  </a:lnTo>
                  <a:lnTo>
                    <a:pt x="567" y="86"/>
                  </a:lnTo>
                  <a:lnTo>
                    <a:pt x="564" y="93"/>
                  </a:lnTo>
                  <a:lnTo>
                    <a:pt x="556" y="96"/>
                  </a:lnTo>
                  <a:lnTo>
                    <a:pt x="554" y="104"/>
                  </a:lnTo>
                  <a:lnTo>
                    <a:pt x="545" y="109"/>
                  </a:lnTo>
                  <a:lnTo>
                    <a:pt x="536" y="112"/>
                  </a:lnTo>
                  <a:lnTo>
                    <a:pt x="477" y="173"/>
                  </a:lnTo>
                  <a:lnTo>
                    <a:pt x="485" y="177"/>
                  </a:lnTo>
                  <a:lnTo>
                    <a:pt x="494" y="175"/>
                  </a:lnTo>
                  <a:lnTo>
                    <a:pt x="501" y="181"/>
                  </a:lnTo>
                  <a:lnTo>
                    <a:pt x="513" y="175"/>
                  </a:lnTo>
                  <a:lnTo>
                    <a:pt x="517" y="180"/>
                  </a:lnTo>
                  <a:lnTo>
                    <a:pt x="524" y="180"/>
                  </a:lnTo>
                  <a:lnTo>
                    <a:pt x="528" y="186"/>
                  </a:lnTo>
                  <a:lnTo>
                    <a:pt x="528" y="198"/>
                  </a:lnTo>
                  <a:lnTo>
                    <a:pt x="535" y="203"/>
                  </a:lnTo>
                  <a:lnTo>
                    <a:pt x="543" y="197"/>
                  </a:lnTo>
                  <a:lnTo>
                    <a:pt x="544" y="204"/>
                  </a:lnTo>
                  <a:lnTo>
                    <a:pt x="551" y="209"/>
                  </a:lnTo>
                  <a:lnTo>
                    <a:pt x="559" y="209"/>
                  </a:lnTo>
                  <a:lnTo>
                    <a:pt x="564" y="217"/>
                  </a:lnTo>
                  <a:lnTo>
                    <a:pt x="572" y="223"/>
                  </a:lnTo>
                  <a:lnTo>
                    <a:pt x="582" y="228"/>
                  </a:lnTo>
                  <a:lnTo>
                    <a:pt x="583" y="234"/>
                  </a:lnTo>
                  <a:lnTo>
                    <a:pt x="591" y="238"/>
                  </a:lnTo>
                  <a:lnTo>
                    <a:pt x="597" y="247"/>
                  </a:lnTo>
                  <a:lnTo>
                    <a:pt x="595" y="254"/>
                  </a:lnTo>
                  <a:lnTo>
                    <a:pt x="600" y="262"/>
                  </a:lnTo>
                  <a:lnTo>
                    <a:pt x="601" y="269"/>
                  </a:lnTo>
                  <a:lnTo>
                    <a:pt x="604" y="278"/>
                  </a:lnTo>
                  <a:lnTo>
                    <a:pt x="614" y="272"/>
                  </a:lnTo>
                  <a:lnTo>
                    <a:pt x="614" y="281"/>
                  </a:lnTo>
                  <a:lnTo>
                    <a:pt x="619" y="287"/>
                  </a:lnTo>
                  <a:lnTo>
                    <a:pt x="617" y="296"/>
                  </a:lnTo>
                  <a:lnTo>
                    <a:pt x="613" y="304"/>
                  </a:lnTo>
                  <a:lnTo>
                    <a:pt x="623" y="314"/>
                  </a:lnTo>
                  <a:lnTo>
                    <a:pt x="627" y="320"/>
                  </a:lnTo>
                  <a:lnTo>
                    <a:pt x="633" y="324"/>
                  </a:lnTo>
                  <a:lnTo>
                    <a:pt x="633" y="331"/>
                  </a:lnTo>
                  <a:lnTo>
                    <a:pt x="633" y="340"/>
                  </a:lnTo>
                  <a:lnTo>
                    <a:pt x="644" y="344"/>
                  </a:lnTo>
                  <a:lnTo>
                    <a:pt x="644" y="350"/>
                  </a:lnTo>
                  <a:lnTo>
                    <a:pt x="648" y="354"/>
                  </a:lnTo>
                  <a:lnTo>
                    <a:pt x="646" y="362"/>
                  </a:lnTo>
                  <a:lnTo>
                    <a:pt x="651" y="371"/>
                  </a:lnTo>
                  <a:lnTo>
                    <a:pt x="658" y="378"/>
                  </a:lnTo>
                  <a:lnTo>
                    <a:pt x="656" y="392"/>
                  </a:lnTo>
                  <a:lnTo>
                    <a:pt x="664" y="396"/>
                  </a:lnTo>
                  <a:lnTo>
                    <a:pt x="670" y="402"/>
                  </a:lnTo>
                  <a:lnTo>
                    <a:pt x="664" y="411"/>
                  </a:lnTo>
                  <a:lnTo>
                    <a:pt x="670" y="426"/>
                  </a:lnTo>
                  <a:lnTo>
                    <a:pt x="657" y="425"/>
                  </a:lnTo>
                  <a:lnTo>
                    <a:pt x="645" y="428"/>
                  </a:lnTo>
                  <a:lnTo>
                    <a:pt x="630" y="427"/>
                  </a:lnTo>
                  <a:lnTo>
                    <a:pt x="629" y="419"/>
                  </a:lnTo>
                  <a:lnTo>
                    <a:pt x="627" y="408"/>
                  </a:lnTo>
                  <a:lnTo>
                    <a:pt x="630" y="394"/>
                  </a:lnTo>
                  <a:lnTo>
                    <a:pt x="625" y="378"/>
                  </a:lnTo>
                  <a:lnTo>
                    <a:pt x="614" y="366"/>
                  </a:lnTo>
                  <a:lnTo>
                    <a:pt x="613" y="353"/>
                  </a:lnTo>
                  <a:lnTo>
                    <a:pt x="607" y="337"/>
                  </a:lnTo>
                  <a:lnTo>
                    <a:pt x="593" y="328"/>
                  </a:lnTo>
                  <a:lnTo>
                    <a:pt x="585" y="317"/>
                  </a:lnTo>
                  <a:lnTo>
                    <a:pt x="579" y="299"/>
                  </a:lnTo>
                  <a:lnTo>
                    <a:pt x="572" y="287"/>
                  </a:lnTo>
                  <a:lnTo>
                    <a:pt x="560" y="281"/>
                  </a:lnTo>
                  <a:lnTo>
                    <a:pt x="545" y="283"/>
                  </a:lnTo>
                  <a:lnTo>
                    <a:pt x="534" y="295"/>
                  </a:lnTo>
                  <a:lnTo>
                    <a:pt x="520" y="305"/>
                  </a:lnTo>
                  <a:lnTo>
                    <a:pt x="503" y="326"/>
                  </a:lnTo>
                  <a:lnTo>
                    <a:pt x="492" y="328"/>
                  </a:lnTo>
                  <a:lnTo>
                    <a:pt x="483" y="336"/>
                  </a:lnTo>
                  <a:lnTo>
                    <a:pt x="485" y="347"/>
                  </a:lnTo>
                  <a:lnTo>
                    <a:pt x="490" y="353"/>
                  </a:lnTo>
                  <a:lnTo>
                    <a:pt x="479" y="350"/>
                  </a:lnTo>
                  <a:lnTo>
                    <a:pt x="469" y="345"/>
                  </a:lnTo>
                  <a:lnTo>
                    <a:pt x="464" y="336"/>
                  </a:lnTo>
                  <a:lnTo>
                    <a:pt x="460" y="326"/>
                  </a:lnTo>
                  <a:lnTo>
                    <a:pt x="451" y="321"/>
                  </a:lnTo>
                  <a:lnTo>
                    <a:pt x="443" y="323"/>
                  </a:lnTo>
                  <a:lnTo>
                    <a:pt x="435" y="332"/>
                  </a:lnTo>
                  <a:lnTo>
                    <a:pt x="432" y="341"/>
                  </a:lnTo>
                  <a:lnTo>
                    <a:pt x="438" y="344"/>
                  </a:lnTo>
                  <a:lnTo>
                    <a:pt x="439" y="350"/>
                  </a:lnTo>
                  <a:lnTo>
                    <a:pt x="449" y="357"/>
                  </a:lnTo>
                  <a:lnTo>
                    <a:pt x="239" y="365"/>
                  </a:lnTo>
                  <a:lnTo>
                    <a:pt x="228" y="365"/>
                  </a:lnTo>
                  <a:lnTo>
                    <a:pt x="220" y="361"/>
                  </a:lnTo>
                  <a:lnTo>
                    <a:pt x="211" y="359"/>
                  </a:lnTo>
                  <a:lnTo>
                    <a:pt x="203" y="365"/>
                  </a:lnTo>
                  <a:lnTo>
                    <a:pt x="192" y="365"/>
                  </a:lnTo>
                  <a:lnTo>
                    <a:pt x="182" y="366"/>
                  </a:lnTo>
                  <a:lnTo>
                    <a:pt x="177" y="371"/>
                  </a:lnTo>
                  <a:lnTo>
                    <a:pt x="168" y="371"/>
                  </a:lnTo>
                  <a:lnTo>
                    <a:pt x="162" y="366"/>
                  </a:lnTo>
                  <a:lnTo>
                    <a:pt x="156" y="364"/>
                  </a:lnTo>
                  <a:lnTo>
                    <a:pt x="143" y="365"/>
                  </a:lnTo>
                  <a:lnTo>
                    <a:pt x="135" y="364"/>
                  </a:lnTo>
                  <a:lnTo>
                    <a:pt x="127" y="354"/>
                  </a:lnTo>
                  <a:lnTo>
                    <a:pt x="121" y="348"/>
                  </a:lnTo>
                  <a:lnTo>
                    <a:pt x="112" y="344"/>
                  </a:lnTo>
                  <a:lnTo>
                    <a:pt x="112" y="337"/>
                  </a:lnTo>
                  <a:lnTo>
                    <a:pt x="120" y="332"/>
                  </a:lnTo>
                  <a:lnTo>
                    <a:pt x="121" y="325"/>
                  </a:lnTo>
                  <a:lnTo>
                    <a:pt x="120" y="315"/>
                  </a:lnTo>
                  <a:lnTo>
                    <a:pt x="125" y="308"/>
                  </a:lnTo>
                  <a:lnTo>
                    <a:pt x="135" y="302"/>
                  </a:lnTo>
                  <a:lnTo>
                    <a:pt x="139" y="295"/>
                  </a:lnTo>
                  <a:lnTo>
                    <a:pt x="137" y="287"/>
                  </a:lnTo>
                  <a:lnTo>
                    <a:pt x="131" y="284"/>
                  </a:lnTo>
                  <a:lnTo>
                    <a:pt x="123" y="290"/>
                  </a:lnTo>
                  <a:lnTo>
                    <a:pt x="116" y="288"/>
                  </a:lnTo>
                  <a:lnTo>
                    <a:pt x="110" y="293"/>
                  </a:lnTo>
                  <a:lnTo>
                    <a:pt x="98" y="291"/>
                  </a:lnTo>
                  <a:lnTo>
                    <a:pt x="92" y="298"/>
                  </a:lnTo>
                  <a:lnTo>
                    <a:pt x="72" y="289"/>
                  </a:lnTo>
                  <a:lnTo>
                    <a:pt x="63" y="299"/>
                  </a:lnTo>
                  <a:lnTo>
                    <a:pt x="57" y="291"/>
                  </a:lnTo>
                  <a:lnTo>
                    <a:pt x="47" y="288"/>
                  </a:lnTo>
                  <a:lnTo>
                    <a:pt x="39" y="288"/>
                  </a:lnTo>
                  <a:lnTo>
                    <a:pt x="35" y="275"/>
                  </a:lnTo>
                  <a:lnTo>
                    <a:pt x="30" y="268"/>
                  </a:lnTo>
                  <a:lnTo>
                    <a:pt x="24" y="260"/>
                  </a:lnTo>
                  <a:lnTo>
                    <a:pt x="17" y="254"/>
                  </a:lnTo>
                  <a:lnTo>
                    <a:pt x="7" y="254"/>
                  </a:lnTo>
                  <a:lnTo>
                    <a:pt x="0" y="249"/>
                  </a:lnTo>
                  <a:lnTo>
                    <a:pt x="53" y="212"/>
                  </a:lnTo>
                  <a:lnTo>
                    <a:pt x="62" y="208"/>
                  </a:lnTo>
                  <a:lnTo>
                    <a:pt x="74" y="205"/>
                  </a:lnTo>
                  <a:lnTo>
                    <a:pt x="80" y="194"/>
                  </a:lnTo>
                  <a:lnTo>
                    <a:pt x="91" y="192"/>
                  </a:lnTo>
                  <a:lnTo>
                    <a:pt x="92" y="182"/>
                  </a:lnTo>
                  <a:lnTo>
                    <a:pt x="91" y="177"/>
                  </a:lnTo>
                  <a:lnTo>
                    <a:pt x="97" y="173"/>
                  </a:lnTo>
                  <a:lnTo>
                    <a:pt x="89" y="166"/>
                  </a:lnTo>
                  <a:lnTo>
                    <a:pt x="97" y="157"/>
                  </a:lnTo>
                  <a:lnTo>
                    <a:pt x="104" y="151"/>
                  </a:lnTo>
                  <a:lnTo>
                    <a:pt x="114" y="152"/>
                  </a:lnTo>
                  <a:lnTo>
                    <a:pt x="112" y="145"/>
                  </a:lnTo>
                  <a:lnTo>
                    <a:pt x="115" y="139"/>
                  </a:lnTo>
                  <a:lnTo>
                    <a:pt x="108" y="132"/>
                  </a:lnTo>
                  <a:lnTo>
                    <a:pt x="115" y="125"/>
                  </a:lnTo>
                  <a:lnTo>
                    <a:pt x="125" y="123"/>
                  </a:lnTo>
                  <a:lnTo>
                    <a:pt x="132" y="117"/>
                  </a:lnTo>
                  <a:lnTo>
                    <a:pt x="138" y="125"/>
                  </a:lnTo>
                  <a:lnTo>
                    <a:pt x="145" y="121"/>
                  </a:lnTo>
                  <a:lnTo>
                    <a:pt x="143" y="113"/>
                  </a:lnTo>
                  <a:lnTo>
                    <a:pt x="152" y="115"/>
                  </a:lnTo>
                  <a:lnTo>
                    <a:pt x="156" y="110"/>
                  </a:lnTo>
                  <a:lnTo>
                    <a:pt x="157" y="103"/>
                  </a:lnTo>
                  <a:lnTo>
                    <a:pt x="165" y="103"/>
                  </a:lnTo>
                  <a:lnTo>
                    <a:pt x="168" y="96"/>
                  </a:lnTo>
                  <a:lnTo>
                    <a:pt x="177" y="96"/>
                  </a:lnTo>
                  <a:lnTo>
                    <a:pt x="177" y="91"/>
                  </a:lnTo>
                  <a:lnTo>
                    <a:pt x="190" y="93"/>
                  </a:lnTo>
                  <a:lnTo>
                    <a:pt x="200" y="92"/>
                  </a:lnTo>
                  <a:lnTo>
                    <a:pt x="200" y="85"/>
                  </a:lnTo>
                  <a:lnTo>
                    <a:pt x="201" y="76"/>
                  </a:lnTo>
                  <a:lnTo>
                    <a:pt x="206" y="73"/>
                  </a:lnTo>
                  <a:lnTo>
                    <a:pt x="213" y="79"/>
                  </a:lnTo>
                  <a:lnTo>
                    <a:pt x="220" y="71"/>
                  </a:lnTo>
                  <a:lnTo>
                    <a:pt x="230" y="76"/>
                  </a:lnTo>
                  <a:lnTo>
                    <a:pt x="239" y="76"/>
                  </a:lnTo>
                  <a:lnTo>
                    <a:pt x="251" y="70"/>
                  </a:lnTo>
                  <a:lnTo>
                    <a:pt x="256" y="77"/>
                  </a:lnTo>
                  <a:lnTo>
                    <a:pt x="264" y="73"/>
                  </a:lnTo>
                  <a:lnTo>
                    <a:pt x="267" y="79"/>
                  </a:lnTo>
                  <a:lnTo>
                    <a:pt x="276" y="76"/>
                  </a:lnTo>
                  <a:lnTo>
                    <a:pt x="284" y="79"/>
                  </a:lnTo>
                  <a:lnTo>
                    <a:pt x="290" y="72"/>
                  </a:lnTo>
                  <a:lnTo>
                    <a:pt x="300" y="72"/>
                  </a:lnTo>
                  <a:lnTo>
                    <a:pt x="312" y="72"/>
                  </a:lnTo>
                  <a:lnTo>
                    <a:pt x="318" y="65"/>
                  </a:lnTo>
                  <a:lnTo>
                    <a:pt x="327" y="66"/>
                  </a:lnTo>
                  <a:lnTo>
                    <a:pt x="330" y="57"/>
                  </a:lnTo>
                  <a:lnTo>
                    <a:pt x="342" y="60"/>
                  </a:lnTo>
                  <a:lnTo>
                    <a:pt x="351" y="55"/>
                  </a:lnTo>
                  <a:lnTo>
                    <a:pt x="382" y="55"/>
                  </a:lnTo>
                  <a:lnTo>
                    <a:pt x="380" y="47"/>
                  </a:lnTo>
                  <a:lnTo>
                    <a:pt x="392" y="44"/>
                  </a:lnTo>
                  <a:lnTo>
                    <a:pt x="399" y="40"/>
                  </a:lnTo>
                  <a:lnTo>
                    <a:pt x="398" y="32"/>
                  </a:lnTo>
                  <a:lnTo>
                    <a:pt x="410" y="32"/>
                  </a:lnTo>
                  <a:lnTo>
                    <a:pt x="411" y="26"/>
                  </a:lnTo>
                  <a:lnTo>
                    <a:pt x="418" y="24"/>
                  </a:lnTo>
                  <a:lnTo>
                    <a:pt x="428" y="24"/>
                  </a:lnTo>
                  <a:lnTo>
                    <a:pt x="435" y="20"/>
                  </a:lnTo>
                  <a:lnTo>
                    <a:pt x="444" y="23"/>
                  </a:lnTo>
                  <a:lnTo>
                    <a:pt x="452" y="24"/>
                  </a:lnTo>
                  <a:lnTo>
                    <a:pt x="462" y="23"/>
                  </a:lnTo>
                  <a:lnTo>
                    <a:pt x="474" y="24"/>
                  </a:lnTo>
                  <a:lnTo>
                    <a:pt x="481" y="25"/>
                  </a:lnTo>
                  <a:lnTo>
                    <a:pt x="496" y="14"/>
                  </a:lnTo>
                  <a:lnTo>
                    <a:pt x="507" y="0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3AD0CBAB-4743-417B-884F-2F658DDC8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6" y="2049"/>
              <a:ext cx="670" cy="428"/>
            </a:xfrm>
            <a:custGeom>
              <a:avLst/>
              <a:gdLst>
                <a:gd name="T0" fmla="*/ 518 w 670"/>
                <a:gd name="T1" fmla="*/ 24 h 428"/>
                <a:gd name="T2" fmla="*/ 537 w 670"/>
                <a:gd name="T3" fmla="*/ 36 h 428"/>
                <a:gd name="T4" fmla="*/ 547 w 670"/>
                <a:gd name="T5" fmla="*/ 67 h 428"/>
                <a:gd name="T6" fmla="*/ 567 w 670"/>
                <a:gd name="T7" fmla="*/ 86 h 428"/>
                <a:gd name="T8" fmla="*/ 545 w 670"/>
                <a:gd name="T9" fmla="*/ 109 h 428"/>
                <a:gd name="T10" fmla="*/ 494 w 670"/>
                <a:gd name="T11" fmla="*/ 175 h 428"/>
                <a:gd name="T12" fmla="*/ 524 w 670"/>
                <a:gd name="T13" fmla="*/ 180 h 428"/>
                <a:gd name="T14" fmla="*/ 543 w 670"/>
                <a:gd name="T15" fmla="*/ 197 h 428"/>
                <a:gd name="T16" fmla="*/ 564 w 670"/>
                <a:gd name="T17" fmla="*/ 217 h 428"/>
                <a:gd name="T18" fmla="*/ 591 w 670"/>
                <a:gd name="T19" fmla="*/ 238 h 428"/>
                <a:gd name="T20" fmla="*/ 601 w 670"/>
                <a:gd name="T21" fmla="*/ 269 h 428"/>
                <a:gd name="T22" fmla="*/ 619 w 670"/>
                <a:gd name="T23" fmla="*/ 287 h 428"/>
                <a:gd name="T24" fmla="*/ 627 w 670"/>
                <a:gd name="T25" fmla="*/ 320 h 428"/>
                <a:gd name="T26" fmla="*/ 644 w 670"/>
                <a:gd name="T27" fmla="*/ 344 h 428"/>
                <a:gd name="T28" fmla="*/ 651 w 670"/>
                <a:gd name="T29" fmla="*/ 371 h 428"/>
                <a:gd name="T30" fmla="*/ 670 w 670"/>
                <a:gd name="T31" fmla="*/ 402 h 428"/>
                <a:gd name="T32" fmla="*/ 645 w 670"/>
                <a:gd name="T33" fmla="*/ 428 h 428"/>
                <a:gd name="T34" fmla="*/ 630 w 670"/>
                <a:gd name="T35" fmla="*/ 394 h 428"/>
                <a:gd name="T36" fmla="*/ 607 w 670"/>
                <a:gd name="T37" fmla="*/ 337 h 428"/>
                <a:gd name="T38" fmla="*/ 572 w 670"/>
                <a:gd name="T39" fmla="*/ 287 h 428"/>
                <a:gd name="T40" fmla="*/ 520 w 670"/>
                <a:gd name="T41" fmla="*/ 305 h 428"/>
                <a:gd name="T42" fmla="*/ 485 w 670"/>
                <a:gd name="T43" fmla="*/ 347 h 428"/>
                <a:gd name="T44" fmla="*/ 464 w 670"/>
                <a:gd name="T45" fmla="*/ 336 h 428"/>
                <a:gd name="T46" fmla="*/ 435 w 670"/>
                <a:gd name="T47" fmla="*/ 332 h 428"/>
                <a:gd name="T48" fmla="*/ 449 w 670"/>
                <a:gd name="T49" fmla="*/ 357 h 428"/>
                <a:gd name="T50" fmla="*/ 211 w 670"/>
                <a:gd name="T51" fmla="*/ 359 h 428"/>
                <a:gd name="T52" fmla="*/ 177 w 670"/>
                <a:gd name="T53" fmla="*/ 371 h 428"/>
                <a:gd name="T54" fmla="*/ 143 w 670"/>
                <a:gd name="T55" fmla="*/ 365 h 428"/>
                <a:gd name="T56" fmla="*/ 112 w 670"/>
                <a:gd name="T57" fmla="*/ 344 h 428"/>
                <a:gd name="T58" fmla="*/ 120 w 670"/>
                <a:gd name="T59" fmla="*/ 315 h 428"/>
                <a:gd name="T60" fmla="*/ 137 w 670"/>
                <a:gd name="T61" fmla="*/ 287 h 428"/>
                <a:gd name="T62" fmla="*/ 110 w 670"/>
                <a:gd name="T63" fmla="*/ 293 h 428"/>
                <a:gd name="T64" fmla="*/ 63 w 670"/>
                <a:gd name="T65" fmla="*/ 299 h 428"/>
                <a:gd name="T66" fmla="*/ 35 w 670"/>
                <a:gd name="T67" fmla="*/ 275 h 428"/>
                <a:gd name="T68" fmla="*/ 7 w 670"/>
                <a:gd name="T69" fmla="*/ 254 h 428"/>
                <a:gd name="T70" fmla="*/ 74 w 670"/>
                <a:gd name="T71" fmla="*/ 205 h 428"/>
                <a:gd name="T72" fmla="*/ 91 w 670"/>
                <a:gd name="T73" fmla="*/ 177 h 428"/>
                <a:gd name="T74" fmla="*/ 104 w 670"/>
                <a:gd name="T75" fmla="*/ 151 h 428"/>
                <a:gd name="T76" fmla="*/ 108 w 670"/>
                <a:gd name="T77" fmla="*/ 132 h 428"/>
                <a:gd name="T78" fmla="*/ 138 w 670"/>
                <a:gd name="T79" fmla="*/ 125 h 428"/>
                <a:gd name="T80" fmla="*/ 156 w 670"/>
                <a:gd name="T81" fmla="*/ 110 h 428"/>
                <a:gd name="T82" fmla="*/ 177 w 670"/>
                <a:gd name="T83" fmla="*/ 96 h 428"/>
                <a:gd name="T84" fmla="*/ 200 w 670"/>
                <a:gd name="T85" fmla="*/ 85 h 428"/>
                <a:gd name="T86" fmla="*/ 220 w 670"/>
                <a:gd name="T87" fmla="*/ 71 h 428"/>
                <a:gd name="T88" fmla="*/ 256 w 670"/>
                <a:gd name="T89" fmla="*/ 77 h 428"/>
                <a:gd name="T90" fmla="*/ 284 w 670"/>
                <a:gd name="T91" fmla="*/ 79 h 428"/>
                <a:gd name="T92" fmla="*/ 318 w 670"/>
                <a:gd name="T93" fmla="*/ 65 h 428"/>
                <a:gd name="T94" fmla="*/ 351 w 670"/>
                <a:gd name="T95" fmla="*/ 55 h 428"/>
                <a:gd name="T96" fmla="*/ 399 w 670"/>
                <a:gd name="T97" fmla="*/ 40 h 428"/>
                <a:gd name="T98" fmla="*/ 418 w 670"/>
                <a:gd name="T99" fmla="*/ 24 h 428"/>
                <a:gd name="T100" fmla="*/ 452 w 670"/>
                <a:gd name="T101" fmla="*/ 24 h 428"/>
                <a:gd name="T102" fmla="*/ 496 w 670"/>
                <a:gd name="T103" fmla="*/ 14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70" h="428">
                  <a:moveTo>
                    <a:pt x="507" y="0"/>
                  </a:moveTo>
                  <a:lnTo>
                    <a:pt x="512" y="8"/>
                  </a:lnTo>
                  <a:lnTo>
                    <a:pt x="512" y="17"/>
                  </a:lnTo>
                  <a:lnTo>
                    <a:pt x="518" y="24"/>
                  </a:lnTo>
                  <a:lnTo>
                    <a:pt x="525" y="29"/>
                  </a:lnTo>
                  <a:lnTo>
                    <a:pt x="536" y="23"/>
                  </a:lnTo>
                  <a:lnTo>
                    <a:pt x="542" y="32"/>
                  </a:lnTo>
                  <a:lnTo>
                    <a:pt x="537" y="36"/>
                  </a:lnTo>
                  <a:lnTo>
                    <a:pt x="538" y="47"/>
                  </a:lnTo>
                  <a:lnTo>
                    <a:pt x="541" y="53"/>
                  </a:lnTo>
                  <a:lnTo>
                    <a:pt x="547" y="55"/>
                  </a:lnTo>
                  <a:lnTo>
                    <a:pt x="547" y="67"/>
                  </a:lnTo>
                  <a:lnTo>
                    <a:pt x="554" y="71"/>
                  </a:lnTo>
                  <a:lnTo>
                    <a:pt x="556" y="76"/>
                  </a:lnTo>
                  <a:lnTo>
                    <a:pt x="566" y="79"/>
                  </a:lnTo>
                  <a:lnTo>
                    <a:pt x="567" y="86"/>
                  </a:lnTo>
                  <a:lnTo>
                    <a:pt x="564" y="93"/>
                  </a:lnTo>
                  <a:lnTo>
                    <a:pt x="556" y="96"/>
                  </a:lnTo>
                  <a:lnTo>
                    <a:pt x="554" y="104"/>
                  </a:lnTo>
                  <a:lnTo>
                    <a:pt x="545" y="109"/>
                  </a:lnTo>
                  <a:lnTo>
                    <a:pt x="536" y="112"/>
                  </a:lnTo>
                  <a:lnTo>
                    <a:pt x="477" y="173"/>
                  </a:lnTo>
                  <a:lnTo>
                    <a:pt x="485" y="177"/>
                  </a:lnTo>
                  <a:lnTo>
                    <a:pt x="494" y="175"/>
                  </a:lnTo>
                  <a:lnTo>
                    <a:pt x="501" y="181"/>
                  </a:lnTo>
                  <a:lnTo>
                    <a:pt x="513" y="175"/>
                  </a:lnTo>
                  <a:lnTo>
                    <a:pt x="517" y="180"/>
                  </a:lnTo>
                  <a:lnTo>
                    <a:pt x="524" y="180"/>
                  </a:lnTo>
                  <a:lnTo>
                    <a:pt x="528" y="186"/>
                  </a:lnTo>
                  <a:lnTo>
                    <a:pt x="528" y="198"/>
                  </a:lnTo>
                  <a:lnTo>
                    <a:pt x="535" y="203"/>
                  </a:lnTo>
                  <a:lnTo>
                    <a:pt x="543" y="197"/>
                  </a:lnTo>
                  <a:lnTo>
                    <a:pt x="544" y="204"/>
                  </a:lnTo>
                  <a:lnTo>
                    <a:pt x="551" y="209"/>
                  </a:lnTo>
                  <a:lnTo>
                    <a:pt x="559" y="209"/>
                  </a:lnTo>
                  <a:lnTo>
                    <a:pt x="564" y="217"/>
                  </a:lnTo>
                  <a:lnTo>
                    <a:pt x="572" y="223"/>
                  </a:lnTo>
                  <a:lnTo>
                    <a:pt x="582" y="228"/>
                  </a:lnTo>
                  <a:lnTo>
                    <a:pt x="583" y="234"/>
                  </a:lnTo>
                  <a:lnTo>
                    <a:pt x="591" y="238"/>
                  </a:lnTo>
                  <a:lnTo>
                    <a:pt x="597" y="247"/>
                  </a:lnTo>
                  <a:lnTo>
                    <a:pt x="595" y="254"/>
                  </a:lnTo>
                  <a:lnTo>
                    <a:pt x="600" y="262"/>
                  </a:lnTo>
                  <a:lnTo>
                    <a:pt x="601" y="269"/>
                  </a:lnTo>
                  <a:lnTo>
                    <a:pt x="604" y="278"/>
                  </a:lnTo>
                  <a:lnTo>
                    <a:pt x="614" y="272"/>
                  </a:lnTo>
                  <a:lnTo>
                    <a:pt x="614" y="281"/>
                  </a:lnTo>
                  <a:lnTo>
                    <a:pt x="619" y="287"/>
                  </a:lnTo>
                  <a:lnTo>
                    <a:pt x="617" y="296"/>
                  </a:lnTo>
                  <a:lnTo>
                    <a:pt x="613" y="304"/>
                  </a:lnTo>
                  <a:lnTo>
                    <a:pt x="623" y="314"/>
                  </a:lnTo>
                  <a:lnTo>
                    <a:pt x="627" y="320"/>
                  </a:lnTo>
                  <a:lnTo>
                    <a:pt x="633" y="324"/>
                  </a:lnTo>
                  <a:lnTo>
                    <a:pt x="633" y="331"/>
                  </a:lnTo>
                  <a:lnTo>
                    <a:pt x="633" y="340"/>
                  </a:lnTo>
                  <a:lnTo>
                    <a:pt x="644" y="344"/>
                  </a:lnTo>
                  <a:lnTo>
                    <a:pt x="644" y="350"/>
                  </a:lnTo>
                  <a:lnTo>
                    <a:pt x="648" y="354"/>
                  </a:lnTo>
                  <a:lnTo>
                    <a:pt x="646" y="362"/>
                  </a:lnTo>
                  <a:lnTo>
                    <a:pt x="651" y="371"/>
                  </a:lnTo>
                  <a:lnTo>
                    <a:pt x="658" y="378"/>
                  </a:lnTo>
                  <a:lnTo>
                    <a:pt x="656" y="392"/>
                  </a:lnTo>
                  <a:lnTo>
                    <a:pt x="664" y="396"/>
                  </a:lnTo>
                  <a:lnTo>
                    <a:pt x="670" y="402"/>
                  </a:lnTo>
                  <a:lnTo>
                    <a:pt x="664" y="411"/>
                  </a:lnTo>
                  <a:lnTo>
                    <a:pt x="670" y="426"/>
                  </a:lnTo>
                  <a:lnTo>
                    <a:pt x="657" y="425"/>
                  </a:lnTo>
                  <a:lnTo>
                    <a:pt x="645" y="428"/>
                  </a:lnTo>
                  <a:lnTo>
                    <a:pt x="630" y="427"/>
                  </a:lnTo>
                  <a:lnTo>
                    <a:pt x="629" y="419"/>
                  </a:lnTo>
                  <a:lnTo>
                    <a:pt x="627" y="408"/>
                  </a:lnTo>
                  <a:lnTo>
                    <a:pt x="630" y="394"/>
                  </a:lnTo>
                  <a:lnTo>
                    <a:pt x="625" y="378"/>
                  </a:lnTo>
                  <a:lnTo>
                    <a:pt x="614" y="366"/>
                  </a:lnTo>
                  <a:lnTo>
                    <a:pt x="613" y="353"/>
                  </a:lnTo>
                  <a:lnTo>
                    <a:pt x="607" y="337"/>
                  </a:lnTo>
                  <a:lnTo>
                    <a:pt x="593" y="328"/>
                  </a:lnTo>
                  <a:lnTo>
                    <a:pt x="585" y="317"/>
                  </a:lnTo>
                  <a:lnTo>
                    <a:pt x="579" y="299"/>
                  </a:lnTo>
                  <a:lnTo>
                    <a:pt x="572" y="287"/>
                  </a:lnTo>
                  <a:lnTo>
                    <a:pt x="560" y="281"/>
                  </a:lnTo>
                  <a:lnTo>
                    <a:pt x="545" y="283"/>
                  </a:lnTo>
                  <a:lnTo>
                    <a:pt x="534" y="295"/>
                  </a:lnTo>
                  <a:lnTo>
                    <a:pt x="520" y="305"/>
                  </a:lnTo>
                  <a:lnTo>
                    <a:pt x="503" y="326"/>
                  </a:lnTo>
                  <a:lnTo>
                    <a:pt x="492" y="328"/>
                  </a:lnTo>
                  <a:lnTo>
                    <a:pt x="483" y="336"/>
                  </a:lnTo>
                  <a:lnTo>
                    <a:pt x="485" y="347"/>
                  </a:lnTo>
                  <a:lnTo>
                    <a:pt x="490" y="353"/>
                  </a:lnTo>
                  <a:lnTo>
                    <a:pt x="479" y="350"/>
                  </a:lnTo>
                  <a:lnTo>
                    <a:pt x="469" y="345"/>
                  </a:lnTo>
                  <a:lnTo>
                    <a:pt x="464" y="336"/>
                  </a:lnTo>
                  <a:lnTo>
                    <a:pt x="460" y="326"/>
                  </a:lnTo>
                  <a:lnTo>
                    <a:pt x="451" y="321"/>
                  </a:lnTo>
                  <a:lnTo>
                    <a:pt x="443" y="323"/>
                  </a:lnTo>
                  <a:lnTo>
                    <a:pt x="435" y="332"/>
                  </a:lnTo>
                  <a:lnTo>
                    <a:pt x="432" y="341"/>
                  </a:lnTo>
                  <a:lnTo>
                    <a:pt x="438" y="344"/>
                  </a:lnTo>
                  <a:lnTo>
                    <a:pt x="439" y="350"/>
                  </a:lnTo>
                  <a:lnTo>
                    <a:pt x="449" y="357"/>
                  </a:lnTo>
                  <a:lnTo>
                    <a:pt x="239" y="365"/>
                  </a:lnTo>
                  <a:lnTo>
                    <a:pt x="228" y="365"/>
                  </a:lnTo>
                  <a:lnTo>
                    <a:pt x="220" y="361"/>
                  </a:lnTo>
                  <a:lnTo>
                    <a:pt x="211" y="359"/>
                  </a:lnTo>
                  <a:lnTo>
                    <a:pt x="203" y="365"/>
                  </a:lnTo>
                  <a:lnTo>
                    <a:pt x="192" y="365"/>
                  </a:lnTo>
                  <a:lnTo>
                    <a:pt x="182" y="366"/>
                  </a:lnTo>
                  <a:lnTo>
                    <a:pt x="177" y="371"/>
                  </a:lnTo>
                  <a:lnTo>
                    <a:pt x="168" y="371"/>
                  </a:lnTo>
                  <a:lnTo>
                    <a:pt x="162" y="366"/>
                  </a:lnTo>
                  <a:lnTo>
                    <a:pt x="156" y="364"/>
                  </a:lnTo>
                  <a:lnTo>
                    <a:pt x="143" y="365"/>
                  </a:lnTo>
                  <a:lnTo>
                    <a:pt x="135" y="364"/>
                  </a:lnTo>
                  <a:lnTo>
                    <a:pt x="127" y="354"/>
                  </a:lnTo>
                  <a:lnTo>
                    <a:pt x="121" y="348"/>
                  </a:lnTo>
                  <a:lnTo>
                    <a:pt x="112" y="344"/>
                  </a:lnTo>
                  <a:lnTo>
                    <a:pt x="112" y="337"/>
                  </a:lnTo>
                  <a:lnTo>
                    <a:pt x="120" y="332"/>
                  </a:lnTo>
                  <a:lnTo>
                    <a:pt x="121" y="325"/>
                  </a:lnTo>
                  <a:lnTo>
                    <a:pt x="120" y="315"/>
                  </a:lnTo>
                  <a:lnTo>
                    <a:pt x="125" y="308"/>
                  </a:lnTo>
                  <a:lnTo>
                    <a:pt x="135" y="302"/>
                  </a:lnTo>
                  <a:lnTo>
                    <a:pt x="139" y="295"/>
                  </a:lnTo>
                  <a:lnTo>
                    <a:pt x="137" y="287"/>
                  </a:lnTo>
                  <a:lnTo>
                    <a:pt x="131" y="284"/>
                  </a:lnTo>
                  <a:lnTo>
                    <a:pt x="123" y="290"/>
                  </a:lnTo>
                  <a:lnTo>
                    <a:pt x="116" y="288"/>
                  </a:lnTo>
                  <a:lnTo>
                    <a:pt x="110" y="293"/>
                  </a:lnTo>
                  <a:lnTo>
                    <a:pt x="98" y="291"/>
                  </a:lnTo>
                  <a:lnTo>
                    <a:pt x="92" y="298"/>
                  </a:lnTo>
                  <a:lnTo>
                    <a:pt x="72" y="289"/>
                  </a:lnTo>
                  <a:lnTo>
                    <a:pt x="63" y="299"/>
                  </a:lnTo>
                  <a:lnTo>
                    <a:pt x="57" y="291"/>
                  </a:lnTo>
                  <a:lnTo>
                    <a:pt x="47" y="288"/>
                  </a:lnTo>
                  <a:lnTo>
                    <a:pt x="39" y="288"/>
                  </a:lnTo>
                  <a:lnTo>
                    <a:pt x="35" y="275"/>
                  </a:lnTo>
                  <a:lnTo>
                    <a:pt x="30" y="268"/>
                  </a:lnTo>
                  <a:lnTo>
                    <a:pt x="24" y="260"/>
                  </a:lnTo>
                  <a:lnTo>
                    <a:pt x="17" y="254"/>
                  </a:lnTo>
                  <a:lnTo>
                    <a:pt x="7" y="254"/>
                  </a:lnTo>
                  <a:lnTo>
                    <a:pt x="0" y="249"/>
                  </a:lnTo>
                  <a:lnTo>
                    <a:pt x="53" y="212"/>
                  </a:lnTo>
                  <a:lnTo>
                    <a:pt x="62" y="208"/>
                  </a:lnTo>
                  <a:lnTo>
                    <a:pt x="74" y="205"/>
                  </a:lnTo>
                  <a:lnTo>
                    <a:pt x="80" y="194"/>
                  </a:lnTo>
                  <a:lnTo>
                    <a:pt x="91" y="192"/>
                  </a:lnTo>
                  <a:lnTo>
                    <a:pt x="92" y="182"/>
                  </a:lnTo>
                  <a:lnTo>
                    <a:pt x="91" y="177"/>
                  </a:lnTo>
                  <a:lnTo>
                    <a:pt x="97" y="173"/>
                  </a:lnTo>
                  <a:lnTo>
                    <a:pt x="89" y="166"/>
                  </a:lnTo>
                  <a:lnTo>
                    <a:pt x="97" y="157"/>
                  </a:lnTo>
                  <a:lnTo>
                    <a:pt x="104" y="151"/>
                  </a:lnTo>
                  <a:lnTo>
                    <a:pt x="114" y="152"/>
                  </a:lnTo>
                  <a:lnTo>
                    <a:pt x="112" y="145"/>
                  </a:lnTo>
                  <a:lnTo>
                    <a:pt x="115" y="139"/>
                  </a:lnTo>
                  <a:lnTo>
                    <a:pt x="108" y="132"/>
                  </a:lnTo>
                  <a:lnTo>
                    <a:pt x="115" y="125"/>
                  </a:lnTo>
                  <a:lnTo>
                    <a:pt x="125" y="123"/>
                  </a:lnTo>
                  <a:lnTo>
                    <a:pt x="132" y="117"/>
                  </a:lnTo>
                  <a:lnTo>
                    <a:pt x="138" y="125"/>
                  </a:lnTo>
                  <a:lnTo>
                    <a:pt x="145" y="121"/>
                  </a:lnTo>
                  <a:lnTo>
                    <a:pt x="143" y="113"/>
                  </a:lnTo>
                  <a:lnTo>
                    <a:pt x="152" y="115"/>
                  </a:lnTo>
                  <a:lnTo>
                    <a:pt x="156" y="110"/>
                  </a:lnTo>
                  <a:lnTo>
                    <a:pt x="157" y="103"/>
                  </a:lnTo>
                  <a:lnTo>
                    <a:pt x="165" y="103"/>
                  </a:lnTo>
                  <a:lnTo>
                    <a:pt x="168" y="96"/>
                  </a:lnTo>
                  <a:lnTo>
                    <a:pt x="177" y="96"/>
                  </a:lnTo>
                  <a:lnTo>
                    <a:pt x="177" y="91"/>
                  </a:lnTo>
                  <a:lnTo>
                    <a:pt x="190" y="93"/>
                  </a:lnTo>
                  <a:lnTo>
                    <a:pt x="200" y="92"/>
                  </a:lnTo>
                  <a:lnTo>
                    <a:pt x="200" y="85"/>
                  </a:lnTo>
                  <a:lnTo>
                    <a:pt x="201" y="76"/>
                  </a:lnTo>
                  <a:lnTo>
                    <a:pt x="206" y="73"/>
                  </a:lnTo>
                  <a:lnTo>
                    <a:pt x="213" y="79"/>
                  </a:lnTo>
                  <a:lnTo>
                    <a:pt x="220" y="71"/>
                  </a:lnTo>
                  <a:lnTo>
                    <a:pt x="230" y="76"/>
                  </a:lnTo>
                  <a:lnTo>
                    <a:pt x="239" y="76"/>
                  </a:lnTo>
                  <a:lnTo>
                    <a:pt x="251" y="70"/>
                  </a:lnTo>
                  <a:lnTo>
                    <a:pt x="256" y="77"/>
                  </a:lnTo>
                  <a:lnTo>
                    <a:pt x="264" y="73"/>
                  </a:lnTo>
                  <a:lnTo>
                    <a:pt x="267" y="79"/>
                  </a:lnTo>
                  <a:lnTo>
                    <a:pt x="276" y="76"/>
                  </a:lnTo>
                  <a:lnTo>
                    <a:pt x="284" y="79"/>
                  </a:lnTo>
                  <a:lnTo>
                    <a:pt x="290" y="72"/>
                  </a:lnTo>
                  <a:lnTo>
                    <a:pt x="300" y="72"/>
                  </a:lnTo>
                  <a:lnTo>
                    <a:pt x="312" y="72"/>
                  </a:lnTo>
                  <a:lnTo>
                    <a:pt x="318" y="65"/>
                  </a:lnTo>
                  <a:lnTo>
                    <a:pt x="327" y="66"/>
                  </a:lnTo>
                  <a:lnTo>
                    <a:pt x="330" y="57"/>
                  </a:lnTo>
                  <a:lnTo>
                    <a:pt x="342" y="60"/>
                  </a:lnTo>
                  <a:lnTo>
                    <a:pt x="351" y="55"/>
                  </a:lnTo>
                  <a:lnTo>
                    <a:pt x="382" y="55"/>
                  </a:lnTo>
                  <a:lnTo>
                    <a:pt x="380" y="47"/>
                  </a:lnTo>
                  <a:lnTo>
                    <a:pt x="392" y="44"/>
                  </a:lnTo>
                  <a:lnTo>
                    <a:pt x="399" y="40"/>
                  </a:lnTo>
                  <a:lnTo>
                    <a:pt x="398" y="32"/>
                  </a:lnTo>
                  <a:lnTo>
                    <a:pt x="410" y="32"/>
                  </a:lnTo>
                  <a:lnTo>
                    <a:pt x="411" y="26"/>
                  </a:lnTo>
                  <a:lnTo>
                    <a:pt x="418" y="24"/>
                  </a:lnTo>
                  <a:lnTo>
                    <a:pt x="428" y="24"/>
                  </a:lnTo>
                  <a:lnTo>
                    <a:pt x="435" y="20"/>
                  </a:lnTo>
                  <a:lnTo>
                    <a:pt x="444" y="23"/>
                  </a:lnTo>
                  <a:lnTo>
                    <a:pt x="452" y="24"/>
                  </a:lnTo>
                  <a:lnTo>
                    <a:pt x="462" y="23"/>
                  </a:lnTo>
                  <a:lnTo>
                    <a:pt x="474" y="24"/>
                  </a:lnTo>
                  <a:lnTo>
                    <a:pt x="481" y="25"/>
                  </a:lnTo>
                  <a:lnTo>
                    <a:pt x="496" y="14"/>
                  </a:lnTo>
                  <a:lnTo>
                    <a:pt x="507" y="0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039077D7-448C-4871-9DDF-A37BFBEBD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0" y="1732"/>
              <a:ext cx="578" cy="541"/>
            </a:xfrm>
            <a:custGeom>
              <a:avLst/>
              <a:gdLst>
                <a:gd name="T0" fmla="*/ 546 w 578"/>
                <a:gd name="T1" fmla="*/ 310 h 541"/>
                <a:gd name="T2" fmla="*/ 544 w 578"/>
                <a:gd name="T3" fmla="*/ 285 h 541"/>
                <a:gd name="T4" fmla="*/ 536 w 578"/>
                <a:gd name="T5" fmla="*/ 253 h 541"/>
                <a:gd name="T6" fmla="*/ 527 w 578"/>
                <a:gd name="T7" fmla="*/ 226 h 541"/>
                <a:gd name="T8" fmla="*/ 527 w 578"/>
                <a:gd name="T9" fmla="*/ 197 h 541"/>
                <a:gd name="T10" fmla="*/ 535 w 578"/>
                <a:gd name="T11" fmla="*/ 174 h 541"/>
                <a:gd name="T12" fmla="*/ 529 w 578"/>
                <a:gd name="T13" fmla="*/ 153 h 541"/>
                <a:gd name="T14" fmla="*/ 523 w 578"/>
                <a:gd name="T15" fmla="*/ 138 h 541"/>
                <a:gd name="T16" fmla="*/ 544 w 578"/>
                <a:gd name="T17" fmla="*/ 118 h 541"/>
                <a:gd name="T18" fmla="*/ 553 w 578"/>
                <a:gd name="T19" fmla="*/ 96 h 541"/>
                <a:gd name="T20" fmla="*/ 550 w 578"/>
                <a:gd name="T21" fmla="*/ 72 h 541"/>
                <a:gd name="T22" fmla="*/ 568 w 578"/>
                <a:gd name="T23" fmla="*/ 42 h 541"/>
                <a:gd name="T24" fmla="*/ 568 w 578"/>
                <a:gd name="T25" fmla="*/ 24 h 541"/>
                <a:gd name="T26" fmla="*/ 561 w 578"/>
                <a:gd name="T27" fmla="*/ 5 h 541"/>
                <a:gd name="T28" fmla="*/ 534 w 578"/>
                <a:gd name="T29" fmla="*/ 2 h 541"/>
                <a:gd name="T30" fmla="*/ 501 w 578"/>
                <a:gd name="T31" fmla="*/ 9 h 541"/>
                <a:gd name="T32" fmla="*/ 472 w 578"/>
                <a:gd name="T33" fmla="*/ 9 h 541"/>
                <a:gd name="T34" fmla="*/ 445 w 578"/>
                <a:gd name="T35" fmla="*/ 12 h 541"/>
                <a:gd name="T36" fmla="*/ 408 w 578"/>
                <a:gd name="T37" fmla="*/ 19 h 541"/>
                <a:gd name="T38" fmla="*/ 361 w 578"/>
                <a:gd name="T39" fmla="*/ 17 h 541"/>
                <a:gd name="T40" fmla="*/ 316 w 578"/>
                <a:gd name="T41" fmla="*/ 16 h 541"/>
                <a:gd name="T42" fmla="*/ 294 w 578"/>
                <a:gd name="T43" fmla="*/ 30 h 541"/>
                <a:gd name="T44" fmla="*/ 270 w 578"/>
                <a:gd name="T45" fmla="*/ 24 h 541"/>
                <a:gd name="T46" fmla="*/ 251 w 578"/>
                <a:gd name="T47" fmla="*/ 40 h 541"/>
                <a:gd name="T48" fmla="*/ 221 w 578"/>
                <a:gd name="T49" fmla="*/ 45 h 541"/>
                <a:gd name="T50" fmla="*/ 196 w 578"/>
                <a:gd name="T51" fmla="*/ 47 h 541"/>
                <a:gd name="T52" fmla="*/ 177 w 578"/>
                <a:gd name="T53" fmla="*/ 65 h 541"/>
                <a:gd name="T54" fmla="*/ 168 w 578"/>
                <a:gd name="T55" fmla="*/ 86 h 541"/>
                <a:gd name="T56" fmla="*/ 150 w 578"/>
                <a:gd name="T57" fmla="*/ 105 h 541"/>
                <a:gd name="T58" fmla="*/ 126 w 578"/>
                <a:gd name="T59" fmla="*/ 115 h 541"/>
                <a:gd name="T60" fmla="*/ 84 w 578"/>
                <a:gd name="T61" fmla="*/ 133 h 541"/>
                <a:gd name="T62" fmla="*/ 60 w 578"/>
                <a:gd name="T63" fmla="*/ 159 h 541"/>
                <a:gd name="T64" fmla="*/ 31 w 578"/>
                <a:gd name="T65" fmla="*/ 180 h 541"/>
                <a:gd name="T66" fmla="*/ 9 w 578"/>
                <a:gd name="T67" fmla="*/ 212 h 541"/>
                <a:gd name="T68" fmla="*/ 16 w 578"/>
                <a:gd name="T69" fmla="*/ 530 h 541"/>
                <a:gd name="T70" fmla="*/ 45 w 578"/>
                <a:gd name="T71" fmla="*/ 530 h 541"/>
                <a:gd name="T72" fmla="*/ 56 w 578"/>
                <a:gd name="T73" fmla="*/ 540 h 541"/>
                <a:gd name="T74" fmla="*/ 80 w 578"/>
                <a:gd name="T75" fmla="*/ 534 h 541"/>
                <a:gd name="T76" fmla="*/ 97 w 578"/>
                <a:gd name="T77" fmla="*/ 525 h 541"/>
                <a:gd name="T78" fmla="*/ 121 w 578"/>
                <a:gd name="T79" fmla="*/ 526 h 541"/>
                <a:gd name="T80" fmla="*/ 140 w 578"/>
                <a:gd name="T81" fmla="*/ 503 h 541"/>
                <a:gd name="T82" fmla="*/ 137 w 578"/>
                <a:gd name="T83" fmla="*/ 486 h 541"/>
                <a:gd name="T84" fmla="*/ 161 w 578"/>
                <a:gd name="T85" fmla="*/ 473 h 541"/>
                <a:gd name="T86" fmla="*/ 155 w 578"/>
                <a:gd name="T87" fmla="*/ 453 h 541"/>
                <a:gd name="T88" fmla="*/ 179 w 578"/>
                <a:gd name="T89" fmla="*/ 438 h 541"/>
                <a:gd name="T90" fmla="*/ 190 w 578"/>
                <a:gd name="T91" fmla="*/ 433 h 541"/>
                <a:gd name="T92" fmla="*/ 204 w 578"/>
                <a:gd name="T93" fmla="*/ 424 h 541"/>
                <a:gd name="T94" fmla="*/ 223 w 578"/>
                <a:gd name="T95" fmla="*/ 417 h 541"/>
                <a:gd name="T96" fmla="*/ 246 w 578"/>
                <a:gd name="T97" fmla="*/ 413 h 541"/>
                <a:gd name="T98" fmla="*/ 252 w 578"/>
                <a:gd name="T99" fmla="*/ 394 h 541"/>
                <a:gd name="T100" fmla="*/ 276 w 578"/>
                <a:gd name="T101" fmla="*/ 396 h 541"/>
                <a:gd name="T102" fmla="*/ 303 w 578"/>
                <a:gd name="T103" fmla="*/ 398 h 541"/>
                <a:gd name="T104" fmla="*/ 322 w 578"/>
                <a:gd name="T105" fmla="*/ 396 h 541"/>
                <a:gd name="T106" fmla="*/ 346 w 578"/>
                <a:gd name="T107" fmla="*/ 393 h 541"/>
                <a:gd name="T108" fmla="*/ 372 w 578"/>
                <a:gd name="T109" fmla="*/ 387 h 541"/>
                <a:gd name="T110" fmla="*/ 396 w 578"/>
                <a:gd name="T111" fmla="*/ 376 h 541"/>
                <a:gd name="T112" fmla="*/ 437 w 578"/>
                <a:gd name="T113" fmla="*/ 365 h 541"/>
                <a:gd name="T114" fmla="*/ 455 w 578"/>
                <a:gd name="T115" fmla="*/ 353 h 541"/>
                <a:gd name="T116" fmla="*/ 473 w 578"/>
                <a:gd name="T117" fmla="*/ 345 h 541"/>
                <a:gd name="T118" fmla="*/ 497 w 578"/>
                <a:gd name="T119" fmla="*/ 345 h 541"/>
                <a:gd name="T120" fmla="*/ 526 w 578"/>
                <a:gd name="T121" fmla="*/ 346 h 541"/>
                <a:gd name="T122" fmla="*/ 549 w 578"/>
                <a:gd name="T123" fmla="*/ 319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78" h="541">
                  <a:moveTo>
                    <a:pt x="549" y="319"/>
                  </a:moveTo>
                  <a:lnTo>
                    <a:pt x="551" y="313"/>
                  </a:lnTo>
                  <a:lnTo>
                    <a:pt x="546" y="310"/>
                  </a:lnTo>
                  <a:lnTo>
                    <a:pt x="553" y="299"/>
                  </a:lnTo>
                  <a:lnTo>
                    <a:pt x="550" y="291"/>
                  </a:lnTo>
                  <a:lnTo>
                    <a:pt x="544" y="285"/>
                  </a:lnTo>
                  <a:lnTo>
                    <a:pt x="547" y="273"/>
                  </a:lnTo>
                  <a:lnTo>
                    <a:pt x="544" y="264"/>
                  </a:lnTo>
                  <a:lnTo>
                    <a:pt x="536" y="253"/>
                  </a:lnTo>
                  <a:lnTo>
                    <a:pt x="530" y="246"/>
                  </a:lnTo>
                  <a:lnTo>
                    <a:pt x="525" y="235"/>
                  </a:lnTo>
                  <a:lnTo>
                    <a:pt x="527" y="226"/>
                  </a:lnTo>
                  <a:lnTo>
                    <a:pt x="531" y="218"/>
                  </a:lnTo>
                  <a:lnTo>
                    <a:pt x="530" y="205"/>
                  </a:lnTo>
                  <a:lnTo>
                    <a:pt x="527" y="197"/>
                  </a:lnTo>
                  <a:lnTo>
                    <a:pt x="532" y="189"/>
                  </a:lnTo>
                  <a:lnTo>
                    <a:pt x="530" y="180"/>
                  </a:lnTo>
                  <a:lnTo>
                    <a:pt x="535" y="174"/>
                  </a:lnTo>
                  <a:lnTo>
                    <a:pt x="531" y="168"/>
                  </a:lnTo>
                  <a:lnTo>
                    <a:pt x="535" y="161"/>
                  </a:lnTo>
                  <a:lnTo>
                    <a:pt x="529" y="153"/>
                  </a:lnTo>
                  <a:lnTo>
                    <a:pt x="531" y="149"/>
                  </a:lnTo>
                  <a:lnTo>
                    <a:pt x="523" y="145"/>
                  </a:lnTo>
                  <a:lnTo>
                    <a:pt x="523" y="138"/>
                  </a:lnTo>
                  <a:lnTo>
                    <a:pt x="531" y="132"/>
                  </a:lnTo>
                  <a:lnTo>
                    <a:pt x="537" y="125"/>
                  </a:lnTo>
                  <a:lnTo>
                    <a:pt x="544" y="118"/>
                  </a:lnTo>
                  <a:lnTo>
                    <a:pt x="551" y="110"/>
                  </a:lnTo>
                  <a:lnTo>
                    <a:pt x="556" y="105"/>
                  </a:lnTo>
                  <a:lnTo>
                    <a:pt x="553" y="96"/>
                  </a:lnTo>
                  <a:lnTo>
                    <a:pt x="549" y="89"/>
                  </a:lnTo>
                  <a:lnTo>
                    <a:pt x="554" y="81"/>
                  </a:lnTo>
                  <a:lnTo>
                    <a:pt x="550" y="72"/>
                  </a:lnTo>
                  <a:lnTo>
                    <a:pt x="556" y="59"/>
                  </a:lnTo>
                  <a:lnTo>
                    <a:pt x="562" y="52"/>
                  </a:lnTo>
                  <a:lnTo>
                    <a:pt x="568" y="42"/>
                  </a:lnTo>
                  <a:lnTo>
                    <a:pt x="578" y="35"/>
                  </a:lnTo>
                  <a:lnTo>
                    <a:pt x="577" y="27"/>
                  </a:lnTo>
                  <a:lnTo>
                    <a:pt x="568" y="24"/>
                  </a:lnTo>
                  <a:lnTo>
                    <a:pt x="564" y="16"/>
                  </a:lnTo>
                  <a:lnTo>
                    <a:pt x="568" y="11"/>
                  </a:lnTo>
                  <a:lnTo>
                    <a:pt x="561" y="5"/>
                  </a:lnTo>
                  <a:lnTo>
                    <a:pt x="551" y="0"/>
                  </a:lnTo>
                  <a:lnTo>
                    <a:pt x="541" y="0"/>
                  </a:lnTo>
                  <a:lnTo>
                    <a:pt x="534" y="2"/>
                  </a:lnTo>
                  <a:lnTo>
                    <a:pt x="520" y="5"/>
                  </a:lnTo>
                  <a:lnTo>
                    <a:pt x="512" y="10"/>
                  </a:lnTo>
                  <a:lnTo>
                    <a:pt x="501" y="9"/>
                  </a:lnTo>
                  <a:lnTo>
                    <a:pt x="491" y="4"/>
                  </a:lnTo>
                  <a:lnTo>
                    <a:pt x="482" y="4"/>
                  </a:lnTo>
                  <a:lnTo>
                    <a:pt x="472" y="9"/>
                  </a:lnTo>
                  <a:lnTo>
                    <a:pt x="467" y="15"/>
                  </a:lnTo>
                  <a:lnTo>
                    <a:pt x="455" y="16"/>
                  </a:lnTo>
                  <a:lnTo>
                    <a:pt x="445" y="12"/>
                  </a:lnTo>
                  <a:lnTo>
                    <a:pt x="434" y="17"/>
                  </a:lnTo>
                  <a:lnTo>
                    <a:pt x="427" y="22"/>
                  </a:lnTo>
                  <a:lnTo>
                    <a:pt x="408" y="19"/>
                  </a:lnTo>
                  <a:lnTo>
                    <a:pt x="383" y="24"/>
                  </a:lnTo>
                  <a:lnTo>
                    <a:pt x="375" y="22"/>
                  </a:lnTo>
                  <a:lnTo>
                    <a:pt x="361" y="17"/>
                  </a:lnTo>
                  <a:lnTo>
                    <a:pt x="345" y="17"/>
                  </a:lnTo>
                  <a:lnTo>
                    <a:pt x="330" y="17"/>
                  </a:lnTo>
                  <a:lnTo>
                    <a:pt x="316" y="16"/>
                  </a:lnTo>
                  <a:lnTo>
                    <a:pt x="306" y="15"/>
                  </a:lnTo>
                  <a:lnTo>
                    <a:pt x="302" y="22"/>
                  </a:lnTo>
                  <a:lnTo>
                    <a:pt x="294" y="30"/>
                  </a:lnTo>
                  <a:lnTo>
                    <a:pt x="283" y="35"/>
                  </a:lnTo>
                  <a:lnTo>
                    <a:pt x="276" y="32"/>
                  </a:lnTo>
                  <a:lnTo>
                    <a:pt x="270" y="24"/>
                  </a:lnTo>
                  <a:lnTo>
                    <a:pt x="266" y="29"/>
                  </a:lnTo>
                  <a:lnTo>
                    <a:pt x="256" y="29"/>
                  </a:lnTo>
                  <a:lnTo>
                    <a:pt x="251" y="40"/>
                  </a:lnTo>
                  <a:lnTo>
                    <a:pt x="242" y="40"/>
                  </a:lnTo>
                  <a:lnTo>
                    <a:pt x="237" y="46"/>
                  </a:lnTo>
                  <a:lnTo>
                    <a:pt x="221" y="45"/>
                  </a:lnTo>
                  <a:lnTo>
                    <a:pt x="208" y="46"/>
                  </a:lnTo>
                  <a:lnTo>
                    <a:pt x="197" y="40"/>
                  </a:lnTo>
                  <a:lnTo>
                    <a:pt x="196" y="47"/>
                  </a:lnTo>
                  <a:lnTo>
                    <a:pt x="189" y="51"/>
                  </a:lnTo>
                  <a:lnTo>
                    <a:pt x="185" y="60"/>
                  </a:lnTo>
                  <a:lnTo>
                    <a:pt x="177" y="65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68" y="86"/>
                  </a:lnTo>
                  <a:lnTo>
                    <a:pt x="160" y="91"/>
                  </a:lnTo>
                  <a:lnTo>
                    <a:pt x="159" y="99"/>
                  </a:lnTo>
                  <a:lnTo>
                    <a:pt x="150" y="105"/>
                  </a:lnTo>
                  <a:lnTo>
                    <a:pt x="147" y="110"/>
                  </a:lnTo>
                  <a:lnTo>
                    <a:pt x="136" y="112"/>
                  </a:lnTo>
                  <a:lnTo>
                    <a:pt x="126" y="115"/>
                  </a:lnTo>
                  <a:lnTo>
                    <a:pt x="112" y="115"/>
                  </a:lnTo>
                  <a:lnTo>
                    <a:pt x="97" y="125"/>
                  </a:lnTo>
                  <a:lnTo>
                    <a:pt x="84" y="133"/>
                  </a:lnTo>
                  <a:lnTo>
                    <a:pt x="74" y="139"/>
                  </a:lnTo>
                  <a:lnTo>
                    <a:pt x="64" y="146"/>
                  </a:lnTo>
                  <a:lnTo>
                    <a:pt x="60" y="159"/>
                  </a:lnTo>
                  <a:lnTo>
                    <a:pt x="53" y="166"/>
                  </a:lnTo>
                  <a:lnTo>
                    <a:pt x="41" y="173"/>
                  </a:lnTo>
                  <a:lnTo>
                    <a:pt x="31" y="180"/>
                  </a:lnTo>
                  <a:lnTo>
                    <a:pt x="20" y="186"/>
                  </a:lnTo>
                  <a:lnTo>
                    <a:pt x="15" y="202"/>
                  </a:lnTo>
                  <a:lnTo>
                    <a:pt x="9" y="212"/>
                  </a:lnTo>
                  <a:lnTo>
                    <a:pt x="0" y="219"/>
                  </a:lnTo>
                  <a:lnTo>
                    <a:pt x="10" y="526"/>
                  </a:lnTo>
                  <a:lnTo>
                    <a:pt x="16" y="530"/>
                  </a:lnTo>
                  <a:lnTo>
                    <a:pt x="26" y="528"/>
                  </a:lnTo>
                  <a:lnTo>
                    <a:pt x="32" y="532"/>
                  </a:lnTo>
                  <a:lnTo>
                    <a:pt x="45" y="530"/>
                  </a:lnTo>
                  <a:lnTo>
                    <a:pt x="46" y="536"/>
                  </a:lnTo>
                  <a:lnTo>
                    <a:pt x="56" y="535"/>
                  </a:lnTo>
                  <a:lnTo>
                    <a:pt x="56" y="540"/>
                  </a:lnTo>
                  <a:lnTo>
                    <a:pt x="69" y="536"/>
                  </a:lnTo>
                  <a:lnTo>
                    <a:pt x="72" y="541"/>
                  </a:lnTo>
                  <a:lnTo>
                    <a:pt x="80" y="534"/>
                  </a:lnTo>
                  <a:lnTo>
                    <a:pt x="79" y="527"/>
                  </a:lnTo>
                  <a:lnTo>
                    <a:pt x="85" y="521"/>
                  </a:lnTo>
                  <a:lnTo>
                    <a:pt x="97" y="525"/>
                  </a:lnTo>
                  <a:lnTo>
                    <a:pt x="101" y="533"/>
                  </a:lnTo>
                  <a:lnTo>
                    <a:pt x="109" y="528"/>
                  </a:lnTo>
                  <a:lnTo>
                    <a:pt x="121" y="526"/>
                  </a:lnTo>
                  <a:lnTo>
                    <a:pt x="127" y="515"/>
                  </a:lnTo>
                  <a:lnTo>
                    <a:pt x="138" y="512"/>
                  </a:lnTo>
                  <a:lnTo>
                    <a:pt x="140" y="503"/>
                  </a:lnTo>
                  <a:lnTo>
                    <a:pt x="138" y="498"/>
                  </a:lnTo>
                  <a:lnTo>
                    <a:pt x="144" y="493"/>
                  </a:lnTo>
                  <a:lnTo>
                    <a:pt x="137" y="486"/>
                  </a:lnTo>
                  <a:lnTo>
                    <a:pt x="144" y="478"/>
                  </a:lnTo>
                  <a:lnTo>
                    <a:pt x="151" y="472"/>
                  </a:lnTo>
                  <a:lnTo>
                    <a:pt x="161" y="473"/>
                  </a:lnTo>
                  <a:lnTo>
                    <a:pt x="160" y="466"/>
                  </a:lnTo>
                  <a:lnTo>
                    <a:pt x="162" y="460"/>
                  </a:lnTo>
                  <a:lnTo>
                    <a:pt x="155" y="453"/>
                  </a:lnTo>
                  <a:lnTo>
                    <a:pt x="162" y="446"/>
                  </a:lnTo>
                  <a:lnTo>
                    <a:pt x="172" y="444"/>
                  </a:lnTo>
                  <a:lnTo>
                    <a:pt x="179" y="438"/>
                  </a:lnTo>
                  <a:lnTo>
                    <a:pt x="185" y="446"/>
                  </a:lnTo>
                  <a:lnTo>
                    <a:pt x="192" y="442"/>
                  </a:lnTo>
                  <a:lnTo>
                    <a:pt x="190" y="433"/>
                  </a:lnTo>
                  <a:lnTo>
                    <a:pt x="199" y="436"/>
                  </a:lnTo>
                  <a:lnTo>
                    <a:pt x="203" y="431"/>
                  </a:lnTo>
                  <a:lnTo>
                    <a:pt x="204" y="424"/>
                  </a:lnTo>
                  <a:lnTo>
                    <a:pt x="212" y="424"/>
                  </a:lnTo>
                  <a:lnTo>
                    <a:pt x="215" y="417"/>
                  </a:lnTo>
                  <a:lnTo>
                    <a:pt x="223" y="417"/>
                  </a:lnTo>
                  <a:lnTo>
                    <a:pt x="223" y="412"/>
                  </a:lnTo>
                  <a:lnTo>
                    <a:pt x="237" y="415"/>
                  </a:lnTo>
                  <a:lnTo>
                    <a:pt x="246" y="413"/>
                  </a:lnTo>
                  <a:lnTo>
                    <a:pt x="246" y="406"/>
                  </a:lnTo>
                  <a:lnTo>
                    <a:pt x="248" y="396"/>
                  </a:lnTo>
                  <a:lnTo>
                    <a:pt x="252" y="394"/>
                  </a:lnTo>
                  <a:lnTo>
                    <a:pt x="259" y="400"/>
                  </a:lnTo>
                  <a:lnTo>
                    <a:pt x="267" y="392"/>
                  </a:lnTo>
                  <a:lnTo>
                    <a:pt x="276" y="396"/>
                  </a:lnTo>
                  <a:lnTo>
                    <a:pt x="286" y="396"/>
                  </a:lnTo>
                  <a:lnTo>
                    <a:pt x="297" y="390"/>
                  </a:lnTo>
                  <a:lnTo>
                    <a:pt x="303" y="398"/>
                  </a:lnTo>
                  <a:lnTo>
                    <a:pt x="310" y="394"/>
                  </a:lnTo>
                  <a:lnTo>
                    <a:pt x="314" y="400"/>
                  </a:lnTo>
                  <a:lnTo>
                    <a:pt x="322" y="396"/>
                  </a:lnTo>
                  <a:lnTo>
                    <a:pt x="330" y="400"/>
                  </a:lnTo>
                  <a:lnTo>
                    <a:pt x="337" y="393"/>
                  </a:lnTo>
                  <a:lnTo>
                    <a:pt x="346" y="393"/>
                  </a:lnTo>
                  <a:lnTo>
                    <a:pt x="358" y="393"/>
                  </a:lnTo>
                  <a:lnTo>
                    <a:pt x="364" y="386"/>
                  </a:lnTo>
                  <a:lnTo>
                    <a:pt x="372" y="387"/>
                  </a:lnTo>
                  <a:lnTo>
                    <a:pt x="376" y="379"/>
                  </a:lnTo>
                  <a:lnTo>
                    <a:pt x="388" y="381"/>
                  </a:lnTo>
                  <a:lnTo>
                    <a:pt x="396" y="376"/>
                  </a:lnTo>
                  <a:lnTo>
                    <a:pt x="428" y="376"/>
                  </a:lnTo>
                  <a:lnTo>
                    <a:pt x="425" y="368"/>
                  </a:lnTo>
                  <a:lnTo>
                    <a:pt x="437" y="365"/>
                  </a:lnTo>
                  <a:lnTo>
                    <a:pt x="445" y="361"/>
                  </a:lnTo>
                  <a:lnTo>
                    <a:pt x="443" y="353"/>
                  </a:lnTo>
                  <a:lnTo>
                    <a:pt x="455" y="353"/>
                  </a:lnTo>
                  <a:lnTo>
                    <a:pt x="456" y="347"/>
                  </a:lnTo>
                  <a:lnTo>
                    <a:pt x="464" y="345"/>
                  </a:lnTo>
                  <a:lnTo>
                    <a:pt x="473" y="345"/>
                  </a:lnTo>
                  <a:lnTo>
                    <a:pt x="481" y="341"/>
                  </a:lnTo>
                  <a:lnTo>
                    <a:pt x="489" y="344"/>
                  </a:lnTo>
                  <a:lnTo>
                    <a:pt x="497" y="345"/>
                  </a:lnTo>
                  <a:lnTo>
                    <a:pt x="507" y="344"/>
                  </a:lnTo>
                  <a:lnTo>
                    <a:pt x="519" y="345"/>
                  </a:lnTo>
                  <a:lnTo>
                    <a:pt x="526" y="346"/>
                  </a:lnTo>
                  <a:lnTo>
                    <a:pt x="541" y="336"/>
                  </a:lnTo>
                  <a:lnTo>
                    <a:pt x="551" y="321"/>
                  </a:lnTo>
                  <a:lnTo>
                    <a:pt x="549" y="319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C08E39AE-E48C-4C8A-A35C-04EEDB69D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0" y="1732"/>
              <a:ext cx="578" cy="541"/>
            </a:xfrm>
            <a:custGeom>
              <a:avLst/>
              <a:gdLst>
                <a:gd name="T0" fmla="*/ 546 w 578"/>
                <a:gd name="T1" fmla="*/ 310 h 541"/>
                <a:gd name="T2" fmla="*/ 544 w 578"/>
                <a:gd name="T3" fmla="*/ 285 h 541"/>
                <a:gd name="T4" fmla="*/ 536 w 578"/>
                <a:gd name="T5" fmla="*/ 253 h 541"/>
                <a:gd name="T6" fmla="*/ 527 w 578"/>
                <a:gd name="T7" fmla="*/ 226 h 541"/>
                <a:gd name="T8" fmla="*/ 527 w 578"/>
                <a:gd name="T9" fmla="*/ 197 h 541"/>
                <a:gd name="T10" fmla="*/ 535 w 578"/>
                <a:gd name="T11" fmla="*/ 174 h 541"/>
                <a:gd name="T12" fmla="*/ 529 w 578"/>
                <a:gd name="T13" fmla="*/ 153 h 541"/>
                <a:gd name="T14" fmla="*/ 523 w 578"/>
                <a:gd name="T15" fmla="*/ 138 h 541"/>
                <a:gd name="T16" fmla="*/ 544 w 578"/>
                <a:gd name="T17" fmla="*/ 118 h 541"/>
                <a:gd name="T18" fmla="*/ 553 w 578"/>
                <a:gd name="T19" fmla="*/ 96 h 541"/>
                <a:gd name="T20" fmla="*/ 550 w 578"/>
                <a:gd name="T21" fmla="*/ 72 h 541"/>
                <a:gd name="T22" fmla="*/ 568 w 578"/>
                <a:gd name="T23" fmla="*/ 42 h 541"/>
                <a:gd name="T24" fmla="*/ 568 w 578"/>
                <a:gd name="T25" fmla="*/ 24 h 541"/>
                <a:gd name="T26" fmla="*/ 561 w 578"/>
                <a:gd name="T27" fmla="*/ 5 h 541"/>
                <a:gd name="T28" fmla="*/ 534 w 578"/>
                <a:gd name="T29" fmla="*/ 2 h 541"/>
                <a:gd name="T30" fmla="*/ 501 w 578"/>
                <a:gd name="T31" fmla="*/ 9 h 541"/>
                <a:gd name="T32" fmla="*/ 472 w 578"/>
                <a:gd name="T33" fmla="*/ 9 h 541"/>
                <a:gd name="T34" fmla="*/ 445 w 578"/>
                <a:gd name="T35" fmla="*/ 12 h 541"/>
                <a:gd name="T36" fmla="*/ 408 w 578"/>
                <a:gd name="T37" fmla="*/ 19 h 541"/>
                <a:gd name="T38" fmla="*/ 361 w 578"/>
                <a:gd name="T39" fmla="*/ 17 h 541"/>
                <a:gd name="T40" fmla="*/ 316 w 578"/>
                <a:gd name="T41" fmla="*/ 16 h 541"/>
                <a:gd name="T42" fmla="*/ 294 w 578"/>
                <a:gd name="T43" fmla="*/ 30 h 541"/>
                <a:gd name="T44" fmla="*/ 270 w 578"/>
                <a:gd name="T45" fmla="*/ 24 h 541"/>
                <a:gd name="T46" fmla="*/ 251 w 578"/>
                <a:gd name="T47" fmla="*/ 40 h 541"/>
                <a:gd name="T48" fmla="*/ 221 w 578"/>
                <a:gd name="T49" fmla="*/ 45 h 541"/>
                <a:gd name="T50" fmla="*/ 196 w 578"/>
                <a:gd name="T51" fmla="*/ 47 h 541"/>
                <a:gd name="T52" fmla="*/ 177 w 578"/>
                <a:gd name="T53" fmla="*/ 65 h 541"/>
                <a:gd name="T54" fmla="*/ 168 w 578"/>
                <a:gd name="T55" fmla="*/ 86 h 541"/>
                <a:gd name="T56" fmla="*/ 150 w 578"/>
                <a:gd name="T57" fmla="*/ 105 h 541"/>
                <a:gd name="T58" fmla="*/ 126 w 578"/>
                <a:gd name="T59" fmla="*/ 115 h 541"/>
                <a:gd name="T60" fmla="*/ 84 w 578"/>
                <a:gd name="T61" fmla="*/ 133 h 541"/>
                <a:gd name="T62" fmla="*/ 60 w 578"/>
                <a:gd name="T63" fmla="*/ 159 h 541"/>
                <a:gd name="T64" fmla="*/ 31 w 578"/>
                <a:gd name="T65" fmla="*/ 180 h 541"/>
                <a:gd name="T66" fmla="*/ 9 w 578"/>
                <a:gd name="T67" fmla="*/ 212 h 541"/>
                <a:gd name="T68" fmla="*/ 16 w 578"/>
                <a:gd name="T69" fmla="*/ 530 h 541"/>
                <a:gd name="T70" fmla="*/ 45 w 578"/>
                <a:gd name="T71" fmla="*/ 530 h 541"/>
                <a:gd name="T72" fmla="*/ 56 w 578"/>
                <a:gd name="T73" fmla="*/ 540 h 541"/>
                <a:gd name="T74" fmla="*/ 80 w 578"/>
                <a:gd name="T75" fmla="*/ 534 h 541"/>
                <a:gd name="T76" fmla="*/ 97 w 578"/>
                <a:gd name="T77" fmla="*/ 525 h 541"/>
                <a:gd name="T78" fmla="*/ 121 w 578"/>
                <a:gd name="T79" fmla="*/ 526 h 541"/>
                <a:gd name="T80" fmla="*/ 140 w 578"/>
                <a:gd name="T81" fmla="*/ 503 h 541"/>
                <a:gd name="T82" fmla="*/ 137 w 578"/>
                <a:gd name="T83" fmla="*/ 486 h 541"/>
                <a:gd name="T84" fmla="*/ 161 w 578"/>
                <a:gd name="T85" fmla="*/ 473 h 541"/>
                <a:gd name="T86" fmla="*/ 155 w 578"/>
                <a:gd name="T87" fmla="*/ 453 h 541"/>
                <a:gd name="T88" fmla="*/ 179 w 578"/>
                <a:gd name="T89" fmla="*/ 438 h 541"/>
                <a:gd name="T90" fmla="*/ 190 w 578"/>
                <a:gd name="T91" fmla="*/ 433 h 541"/>
                <a:gd name="T92" fmla="*/ 204 w 578"/>
                <a:gd name="T93" fmla="*/ 424 h 541"/>
                <a:gd name="T94" fmla="*/ 223 w 578"/>
                <a:gd name="T95" fmla="*/ 417 h 541"/>
                <a:gd name="T96" fmla="*/ 246 w 578"/>
                <a:gd name="T97" fmla="*/ 413 h 541"/>
                <a:gd name="T98" fmla="*/ 252 w 578"/>
                <a:gd name="T99" fmla="*/ 394 h 541"/>
                <a:gd name="T100" fmla="*/ 276 w 578"/>
                <a:gd name="T101" fmla="*/ 396 h 541"/>
                <a:gd name="T102" fmla="*/ 303 w 578"/>
                <a:gd name="T103" fmla="*/ 398 h 541"/>
                <a:gd name="T104" fmla="*/ 322 w 578"/>
                <a:gd name="T105" fmla="*/ 396 h 541"/>
                <a:gd name="T106" fmla="*/ 346 w 578"/>
                <a:gd name="T107" fmla="*/ 393 h 541"/>
                <a:gd name="T108" fmla="*/ 372 w 578"/>
                <a:gd name="T109" fmla="*/ 387 h 541"/>
                <a:gd name="T110" fmla="*/ 396 w 578"/>
                <a:gd name="T111" fmla="*/ 376 h 541"/>
                <a:gd name="T112" fmla="*/ 437 w 578"/>
                <a:gd name="T113" fmla="*/ 365 h 541"/>
                <a:gd name="T114" fmla="*/ 455 w 578"/>
                <a:gd name="T115" fmla="*/ 353 h 541"/>
                <a:gd name="T116" fmla="*/ 473 w 578"/>
                <a:gd name="T117" fmla="*/ 345 h 541"/>
                <a:gd name="T118" fmla="*/ 497 w 578"/>
                <a:gd name="T119" fmla="*/ 345 h 541"/>
                <a:gd name="T120" fmla="*/ 526 w 578"/>
                <a:gd name="T121" fmla="*/ 346 h 541"/>
                <a:gd name="T122" fmla="*/ 549 w 578"/>
                <a:gd name="T123" fmla="*/ 319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78" h="541">
                  <a:moveTo>
                    <a:pt x="549" y="319"/>
                  </a:moveTo>
                  <a:lnTo>
                    <a:pt x="551" y="313"/>
                  </a:lnTo>
                  <a:lnTo>
                    <a:pt x="546" y="310"/>
                  </a:lnTo>
                  <a:lnTo>
                    <a:pt x="553" y="299"/>
                  </a:lnTo>
                  <a:lnTo>
                    <a:pt x="550" y="291"/>
                  </a:lnTo>
                  <a:lnTo>
                    <a:pt x="544" y="285"/>
                  </a:lnTo>
                  <a:lnTo>
                    <a:pt x="547" y="273"/>
                  </a:lnTo>
                  <a:lnTo>
                    <a:pt x="544" y="264"/>
                  </a:lnTo>
                  <a:lnTo>
                    <a:pt x="536" y="253"/>
                  </a:lnTo>
                  <a:lnTo>
                    <a:pt x="530" y="246"/>
                  </a:lnTo>
                  <a:lnTo>
                    <a:pt x="525" y="235"/>
                  </a:lnTo>
                  <a:lnTo>
                    <a:pt x="527" y="226"/>
                  </a:lnTo>
                  <a:lnTo>
                    <a:pt x="531" y="218"/>
                  </a:lnTo>
                  <a:lnTo>
                    <a:pt x="530" y="205"/>
                  </a:lnTo>
                  <a:lnTo>
                    <a:pt x="527" y="197"/>
                  </a:lnTo>
                  <a:lnTo>
                    <a:pt x="532" y="189"/>
                  </a:lnTo>
                  <a:lnTo>
                    <a:pt x="530" y="180"/>
                  </a:lnTo>
                  <a:lnTo>
                    <a:pt x="535" y="174"/>
                  </a:lnTo>
                  <a:lnTo>
                    <a:pt x="531" y="168"/>
                  </a:lnTo>
                  <a:lnTo>
                    <a:pt x="535" y="161"/>
                  </a:lnTo>
                  <a:lnTo>
                    <a:pt x="529" y="153"/>
                  </a:lnTo>
                  <a:lnTo>
                    <a:pt x="531" y="149"/>
                  </a:lnTo>
                  <a:lnTo>
                    <a:pt x="523" y="145"/>
                  </a:lnTo>
                  <a:lnTo>
                    <a:pt x="523" y="138"/>
                  </a:lnTo>
                  <a:lnTo>
                    <a:pt x="531" y="132"/>
                  </a:lnTo>
                  <a:lnTo>
                    <a:pt x="537" y="125"/>
                  </a:lnTo>
                  <a:lnTo>
                    <a:pt x="544" y="118"/>
                  </a:lnTo>
                  <a:lnTo>
                    <a:pt x="551" y="110"/>
                  </a:lnTo>
                  <a:lnTo>
                    <a:pt x="556" y="105"/>
                  </a:lnTo>
                  <a:lnTo>
                    <a:pt x="553" y="96"/>
                  </a:lnTo>
                  <a:lnTo>
                    <a:pt x="549" y="89"/>
                  </a:lnTo>
                  <a:lnTo>
                    <a:pt x="554" y="81"/>
                  </a:lnTo>
                  <a:lnTo>
                    <a:pt x="550" y="72"/>
                  </a:lnTo>
                  <a:lnTo>
                    <a:pt x="556" y="59"/>
                  </a:lnTo>
                  <a:lnTo>
                    <a:pt x="562" y="52"/>
                  </a:lnTo>
                  <a:lnTo>
                    <a:pt x="568" y="42"/>
                  </a:lnTo>
                  <a:lnTo>
                    <a:pt x="578" y="35"/>
                  </a:lnTo>
                  <a:lnTo>
                    <a:pt x="577" y="27"/>
                  </a:lnTo>
                  <a:lnTo>
                    <a:pt x="568" y="24"/>
                  </a:lnTo>
                  <a:lnTo>
                    <a:pt x="564" y="16"/>
                  </a:lnTo>
                  <a:lnTo>
                    <a:pt x="568" y="11"/>
                  </a:lnTo>
                  <a:lnTo>
                    <a:pt x="561" y="5"/>
                  </a:lnTo>
                  <a:lnTo>
                    <a:pt x="551" y="0"/>
                  </a:lnTo>
                  <a:lnTo>
                    <a:pt x="541" y="0"/>
                  </a:lnTo>
                  <a:lnTo>
                    <a:pt x="534" y="2"/>
                  </a:lnTo>
                  <a:lnTo>
                    <a:pt x="520" y="5"/>
                  </a:lnTo>
                  <a:lnTo>
                    <a:pt x="512" y="10"/>
                  </a:lnTo>
                  <a:lnTo>
                    <a:pt x="501" y="9"/>
                  </a:lnTo>
                  <a:lnTo>
                    <a:pt x="491" y="4"/>
                  </a:lnTo>
                  <a:lnTo>
                    <a:pt x="482" y="4"/>
                  </a:lnTo>
                  <a:lnTo>
                    <a:pt x="472" y="9"/>
                  </a:lnTo>
                  <a:lnTo>
                    <a:pt x="467" y="15"/>
                  </a:lnTo>
                  <a:lnTo>
                    <a:pt x="455" y="16"/>
                  </a:lnTo>
                  <a:lnTo>
                    <a:pt x="445" y="12"/>
                  </a:lnTo>
                  <a:lnTo>
                    <a:pt x="434" y="17"/>
                  </a:lnTo>
                  <a:lnTo>
                    <a:pt x="427" y="22"/>
                  </a:lnTo>
                  <a:lnTo>
                    <a:pt x="408" y="19"/>
                  </a:lnTo>
                  <a:lnTo>
                    <a:pt x="383" y="24"/>
                  </a:lnTo>
                  <a:lnTo>
                    <a:pt x="375" y="22"/>
                  </a:lnTo>
                  <a:lnTo>
                    <a:pt x="361" y="17"/>
                  </a:lnTo>
                  <a:lnTo>
                    <a:pt x="345" y="17"/>
                  </a:lnTo>
                  <a:lnTo>
                    <a:pt x="330" y="17"/>
                  </a:lnTo>
                  <a:lnTo>
                    <a:pt x="316" y="16"/>
                  </a:lnTo>
                  <a:lnTo>
                    <a:pt x="306" y="15"/>
                  </a:lnTo>
                  <a:lnTo>
                    <a:pt x="302" y="22"/>
                  </a:lnTo>
                  <a:lnTo>
                    <a:pt x="294" y="30"/>
                  </a:lnTo>
                  <a:lnTo>
                    <a:pt x="283" y="35"/>
                  </a:lnTo>
                  <a:lnTo>
                    <a:pt x="276" y="32"/>
                  </a:lnTo>
                  <a:lnTo>
                    <a:pt x="270" y="24"/>
                  </a:lnTo>
                  <a:lnTo>
                    <a:pt x="266" y="29"/>
                  </a:lnTo>
                  <a:lnTo>
                    <a:pt x="256" y="29"/>
                  </a:lnTo>
                  <a:lnTo>
                    <a:pt x="251" y="40"/>
                  </a:lnTo>
                  <a:lnTo>
                    <a:pt x="242" y="40"/>
                  </a:lnTo>
                  <a:lnTo>
                    <a:pt x="237" y="46"/>
                  </a:lnTo>
                  <a:lnTo>
                    <a:pt x="221" y="45"/>
                  </a:lnTo>
                  <a:lnTo>
                    <a:pt x="208" y="46"/>
                  </a:lnTo>
                  <a:lnTo>
                    <a:pt x="197" y="40"/>
                  </a:lnTo>
                  <a:lnTo>
                    <a:pt x="196" y="47"/>
                  </a:lnTo>
                  <a:lnTo>
                    <a:pt x="189" y="51"/>
                  </a:lnTo>
                  <a:lnTo>
                    <a:pt x="185" y="60"/>
                  </a:lnTo>
                  <a:lnTo>
                    <a:pt x="177" y="65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68" y="86"/>
                  </a:lnTo>
                  <a:lnTo>
                    <a:pt x="160" y="91"/>
                  </a:lnTo>
                  <a:lnTo>
                    <a:pt x="159" y="99"/>
                  </a:lnTo>
                  <a:lnTo>
                    <a:pt x="150" y="105"/>
                  </a:lnTo>
                  <a:lnTo>
                    <a:pt x="147" y="110"/>
                  </a:lnTo>
                  <a:lnTo>
                    <a:pt x="136" y="112"/>
                  </a:lnTo>
                  <a:lnTo>
                    <a:pt x="126" y="115"/>
                  </a:lnTo>
                  <a:lnTo>
                    <a:pt x="112" y="115"/>
                  </a:lnTo>
                  <a:lnTo>
                    <a:pt x="97" y="125"/>
                  </a:lnTo>
                  <a:lnTo>
                    <a:pt x="84" y="133"/>
                  </a:lnTo>
                  <a:lnTo>
                    <a:pt x="74" y="139"/>
                  </a:lnTo>
                  <a:lnTo>
                    <a:pt x="64" y="146"/>
                  </a:lnTo>
                  <a:lnTo>
                    <a:pt x="60" y="159"/>
                  </a:lnTo>
                  <a:lnTo>
                    <a:pt x="53" y="166"/>
                  </a:lnTo>
                  <a:lnTo>
                    <a:pt x="41" y="173"/>
                  </a:lnTo>
                  <a:lnTo>
                    <a:pt x="31" y="180"/>
                  </a:lnTo>
                  <a:lnTo>
                    <a:pt x="20" y="186"/>
                  </a:lnTo>
                  <a:lnTo>
                    <a:pt x="15" y="202"/>
                  </a:lnTo>
                  <a:lnTo>
                    <a:pt x="9" y="212"/>
                  </a:lnTo>
                  <a:lnTo>
                    <a:pt x="0" y="219"/>
                  </a:lnTo>
                  <a:lnTo>
                    <a:pt x="10" y="526"/>
                  </a:lnTo>
                  <a:lnTo>
                    <a:pt x="16" y="530"/>
                  </a:lnTo>
                  <a:lnTo>
                    <a:pt x="26" y="528"/>
                  </a:lnTo>
                  <a:lnTo>
                    <a:pt x="32" y="532"/>
                  </a:lnTo>
                  <a:lnTo>
                    <a:pt x="45" y="530"/>
                  </a:lnTo>
                  <a:lnTo>
                    <a:pt x="46" y="536"/>
                  </a:lnTo>
                  <a:lnTo>
                    <a:pt x="56" y="535"/>
                  </a:lnTo>
                  <a:lnTo>
                    <a:pt x="56" y="540"/>
                  </a:lnTo>
                  <a:lnTo>
                    <a:pt x="69" y="536"/>
                  </a:lnTo>
                  <a:lnTo>
                    <a:pt x="72" y="541"/>
                  </a:lnTo>
                  <a:lnTo>
                    <a:pt x="80" y="534"/>
                  </a:lnTo>
                  <a:lnTo>
                    <a:pt x="79" y="527"/>
                  </a:lnTo>
                  <a:lnTo>
                    <a:pt x="85" y="521"/>
                  </a:lnTo>
                  <a:lnTo>
                    <a:pt x="97" y="525"/>
                  </a:lnTo>
                  <a:lnTo>
                    <a:pt x="101" y="533"/>
                  </a:lnTo>
                  <a:lnTo>
                    <a:pt x="109" y="528"/>
                  </a:lnTo>
                  <a:lnTo>
                    <a:pt x="121" y="526"/>
                  </a:lnTo>
                  <a:lnTo>
                    <a:pt x="127" y="515"/>
                  </a:lnTo>
                  <a:lnTo>
                    <a:pt x="138" y="512"/>
                  </a:lnTo>
                  <a:lnTo>
                    <a:pt x="140" y="503"/>
                  </a:lnTo>
                  <a:lnTo>
                    <a:pt x="138" y="498"/>
                  </a:lnTo>
                  <a:lnTo>
                    <a:pt x="144" y="493"/>
                  </a:lnTo>
                  <a:lnTo>
                    <a:pt x="137" y="486"/>
                  </a:lnTo>
                  <a:lnTo>
                    <a:pt x="144" y="478"/>
                  </a:lnTo>
                  <a:lnTo>
                    <a:pt x="151" y="472"/>
                  </a:lnTo>
                  <a:lnTo>
                    <a:pt x="161" y="473"/>
                  </a:lnTo>
                  <a:lnTo>
                    <a:pt x="160" y="466"/>
                  </a:lnTo>
                  <a:lnTo>
                    <a:pt x="162" y="460"/>
                  </a:lnTo>
                  <a:lnTo>
                    <a:pt x="155" y="453"/>
                  </a:lnTo>
                  <a:lnTo>
                    <a:pt x="162" y="446"/>
                  </a:lnTo>
                  <a:lnTo>
                    <a:pt x="172" y="444"/>
                  </a:lnTo>
                  <a:lnTo>
                    <a:pt x="179" y="438"/>
                  </a:lnTo>
                  <a:lnTo>
                    <a:pt x="185" y="446"/>
                  </a:lnTo>
                  <a:lnTo>
                    <a:pt x="192" y="442"/>
                  </a:lnTo>
                  <a:lnTo>
                    <a:pt x="190" y="433"/>
                  </a:lnTo>
                  <a:lnTo>
                    <a:pt x="199" y="436"/>
                  </a:lnTo>
                  <a:lnTo>
                    <a:pt x="203" y="431"/>
                  </a:lnTo>
                  <a:lnTo>
                    <a:pt x="204" y="424"/>
                  </a:lnTo>
                  <a:lnTo>
                    <a:pt x="212" y="424"/>
                  </a:lnTo>
                  <a:lnTo>
                    <a:pt x="215" y="417"/>
                  </a:lnTo>
                  <a:lnTo>
                    <a:pt x="223" y="417"/>
                  </a:lnTo>
                  <a:lnTo>
                    <a:pt x="223" y="412"/>
                  </a:lnTo>
                  <a:lnTo>
                    <a:pt x="237" y="415"/>
                  </a:lnTo>
                  <a:lnTo>
                    <a:pt x="246" y="413"/>
                  </a:lnTo>
                  <a:lnTo>
                    <a:pt x="246" y="406"/>
                  </a:lnTo>
                  <a:lnTo>
                    <a:pt x="248" y="396"/>
                  </a:lnTo>
                  <a:lnTo>
                    <a:pt x="252" y="394"/>
                  </a:lnTo>
                  <a:lnTo>
                    <a:pt x="259" y="400"/>
                  </a:lnTo>
                  <a:lnTo>
                    <a:pt x="267" y="392"/>
                  </a:lnTo>
                  <a:lnTo>
                    <a:pt x="276" y="396"/>
                  </a:lnTo>
                  <a:lnTo>
                    <a:pt x="286" y="396"/>
                  </a:lnTo>
                  <a:lnTo>
                    <a:pt x="297" y="390"/>
                  </a:lnTo>
                  <a:lnTo>
                    <a:pt x="303" y="398"/>
                  </a:lnTo>
                  <a:lnTo>
                    <a:pt x="310" y="394"/>
                  </a:lnTo>
                  <a:lnTo>
                    <a:pt x="314" y="400"/>
                  </a:lnTo>
                  <a:lnTo>
                    <a:pt x="322" y="396"/>
                  </a:lnTo>
                  <a:lnTo>
                    <a:pt x="330" y="400"/>
                  </a:lnTo>
                  <a:lnTo>
                    <a:pt x="337" y="393"/>
                  </a:lnTo>
                  <a:lnTo>
                    <a:pt x="346" y="393"/>
                  </a:lnTo>
                  <a:lnTo>
                    <a:pt x="358" y="393"/>
                  </a:lnTo>
                  <a:lnTo>
                    <a:pt x="364" y="386"/>
                  </a:lnTo>
                  <a:lnTo>
                    <a:pt x="372" y="387"/>
                  </a:lnTo>
                  <a:lnTo>
                    <a:pt x="376" y="379"/>
                  </a:lnTo>
                  <a:lnTo>
                    <a:pt x="388" y="381"/>
                  </a:lnTo>
                  <a:lnTo>
                    <a:pt x="396" y="376"/>
                  </a:lnTo>
                  <a:lnTo>
                    <a:pt x="428" y="376"/>
                  </a:lnTo>
                  <a:lnTo>
                    <a:pt x="425" y="368"/>
                  </a:lnTo>
                  <a:lnTo>
                    <a:pt x="437" y="365"/>
                  </a:lnTo>
                  <a:lnTo>
                    <a:pt x="445" y="361"/>
                  </a:lnTo>
                  <a:lnTo>
                    <a:pt x="443" y="353"/>
                  </a:lnTo>
                  <a:lnTo>
                    <a:pt x="455" y="353"/>
                  </a:lnTo>
                  <a:lnTo>
                    <a:pt x="456" y="347"/>
                  </a:lnTo>
                  <a:lnTo>
                    <a:pt x="464" y="345"/>
                  </a:lnTo>
                  <a:lnTo>
                    <a:pt x="473" y="345"/>
                  </a:lnTo>
                  <a:lnTo>
                    <a:pt x="481" y="341"/>
                  </a:lnTo>
                  <a:lnTo>
                    <a:pt x="489" y="344"/>
                  </a:lnTo>
                  <a:lnTo>
                    <a:pt x="497" y="345"/>
                  </a:lnTo>
                  <a:lnTo>
                    <a:pt x="507" y="344"/>
                  </a:lnTo>
                  <a:lnTo>
                    <a:pt x="519" y="345"/>
                  </a:lnTo>
                  <a:lnTo>
                    <a:pt x="526" y="346"/>
                  </a:lnTo>
                  <a:lnTo>
                    <a:pt x="541" y="336"/>
                  </a:lnTo>
                  <a:lnTo>
                    <a:pt x="551" y="321"/>
                  </a:lnTo>
                  <a:lnTo>
                    <a:pt x="549" y="319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BA6560D9-82DA-4ABF-8638-1A2F96AC4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" y="839"/>
              <a:ext cx="393" cy="307"/>
            </a:xfrm>
            <a:custGeom>
              <a:avLst/>
              <a:gdLst>
                <a:gd name="T0" fmla="*/ 147 w 393"/>
                <a:gd name="T1" fmla="*/ 298 h 307"/>
                <a:gd name="T2" fmla="*/ 147 w 393"/>
                <a:gd name="T3" fmla="*/ 285 h 307"/>
                <a:gd name="T4" fmla="*/ 158 w 393"/>
                <a:gd name="T5" fmla="*/ 272 h 307"/>
                <a:gd name="T6" fmla="*/ 167 w 393"/>
                <a:gd name="T7" fmla="*/ 251 h 307"/>
                <a:gd name="T8" fmla="*/ 174 w 393"/>
                <a:gd name="T9" fmla="*/ 234 h 307"/>
                <a:gd name="T10" fmla="*/ 182 w 393"/>
                <a:gd name="T11" fmla="*/ 218 h 307"/>
                <a:gd name="T12" fmla="*/ 205 w 393"/>
                <a:gd name="T13" fmla="*/ 200 h 307"/>
                <a:gd name="T14" fmla="*/ 227 w 393"/>
                <a:gd name="T15" fmla="*/ 190 h 307"/>
                <a:gd name="T16" fmla="*/ 249 w 393"/>
                <a:gd name="T17" fmla="*/ 155 h 307"/>
                <a:gd name="T18" fmla="*/ 260 w 393"/>
                <a:gd name="T19" fmla="*/ 138 h 307"/>
                <a:gd name="T20" fmla="*/ 270 w 393"/>
                <a:gd name="T21" fmla="*/ 122 h 307"/>
                <a:gd name="T22" fmla="*/ 305 w 393"/>
                <a:gd name="T23" fmla="*/ 115 h 307"/>
                <a:gd name="T24" fmla="*/ 336 w 393"/>
                <a:gd name="T25" fmla="*/ 104 h 307"/>
                <a:gd name="T26" fmla="*/ 361 w 393"/>
                <a:gd name="T27" fmla="*/ 92 h 307"/>
                <a:gd name="T28" fmla="*/ 383 w 393"/>
                <a:gd name="T29" fmla="*/ 74 h 307"/>
                <a:gd name="T30" fmla="*/ 392 w 393"/>
                <a:gd name="T31" fmla="*/ 56 h 307"/>
                <a:gd name="T32" fmla="*/ 379 w 393"/>
                <a:gd name="T33" fmla="*/ 33 h 307"/>
                <a:gd name="T34" fmla="*/ 354 w 393"/>
                <a:gd name="T35" fmla="*/ 16 h 307"/>
                <a:gd name="T36" fmla="*/ 321 w 393"/>
                <a:gd name="T37" fmla="*/ 3 h 307"/>
                <a:gd name="T38" fmla="*/ 297 w 393"/>
                <a:gd name="T39" fmla="*/ 2 h 307"/>
                <a:gd name="T40" fmla="*/ 297 w 393"/>
                <a:gd name="T41" fmla="*/ 17 h 307"/>
                <a:gd name="T42" fmla="*/ 279 w 393"/>
                <a:gd name="T43" fmla="*/ 23 h 307"/>
                <a:gd name="T44" fmla="*/ 277 w 393"/>
                <a:gd name="T45" fmla="*/ 40 h 307"/>
                <a:gd name="T46" fmla="*/ 260 w 393"/>
                <a:gd name="T47" fmla="*/ 50 h 307"/>
                <a:gd name="T48" fmla="*/ 244 w 393"/>
                <a:gd name="T49" fmla="*/ 39 h 307"/>
                <a:gd name="T50" fmla="*/ 234 w 393"/>
                <a:gd name="T51" fmla="*/ 62 h 307"/>
                <a:gd name="T52" fmla="*/ 221 w 393"/>
                <a:gd name="T53" fmla="*/ 88 h 307"/>
                <a:gd name="T54" fmla="*/ 199 w 393"/>
                <a:gd name="T55" fmla="*/ 99 h 307"/>
                <a:gd name="T56" fmla="*/ 182 w 393"/>
                <a:gd name="T57" fmla="*/ 112 h 307"/>
                <a:gd name="T58" fmla="*/ 159 w 393"/>
                <a:gd name="T59" fmla="*/ 111 h 307"/>
                <a:gd name="T60" fmla="*/ 141 w 393"/>
                <a:gd name="T61" fmla="*/ 117 h 307"/>
                <a:gd name="T62" fmla="*/ 118 w 393"/>
                <a:gd name="T63" fmla="*/ 132 h 307"/>
                <a:gd name="T64" fmla="*/ 99 w 393"/>
                <a:gd name="T65" fmla="*/ 146 h 307"/>
                <a:gd name="T66" fmla="*/ 89 w 393"/>
                <a:gd name="T67" fmla="*/ 160 h 307"/>
                <a:gd name="T68" fmla="*/ 69 w 393"/>
                <a:gd name="T69" fmla="*/ 171 h 307"/>
                <a:gd name="T70" fmla="*/ 48 w 393"/>
                <a:gd name="T71" fmla="*/ 181 h 307"/>
                <a:gd name="T72" fmla="*/ 15 w 393"/>
                <a:gd name="T73" fmla="*/ 182 h 307"/>
                <a:gd name="T74" fmla="*/ 2 w 393"/>
                <a:gd name="T75" fmla="*/ 201 h 307"/>
                <a:gd name="T76" fmla="*/ 0 w 393"/>
                <a:gd name="T77" fmla="*/ 228 h 307"/>
                <a:gd name="T78" fmla="*/ 9 w 393"/>
                <a:gd name="T79" fmla="*/ 241 h 307"/>
                <a:gd name="T80" fmla="*/ 24 w 393"/>
                <a:gd name="T81" fmla="*/ 245 h 307"/>
                <a:gd name="T82" fmla="*/ 56 w 393"/>
                <a:gd name="T83" fmla="*/ 241 h 307"/>
                <a:gd name="T84" fmla="*/ 63 w 393"/>
                <a:gd name="T85" fmla="*/ 251 h 307"/>
                <a:gd name="T86" fmla="*/ 75 w 393"/>
                <a:gd name="T87" fmla="*/ 256 h 307"/>
                <a:gd name="T88" fmla="*/ 89 w 393"/>
                <a:gd name="T89" fmla="*/ 267 h 307"/>
                <a:gd name="T90" fmla="*/ 93 w 393"/>
                <a:gd name="T91" fmla="*/ 283 h 307"/>
                <a:gd name="T92" fmla="*/ 80 w 393"/>
                <a:gd name="T93" fmla="*/ 298 h 307"/>
                <a:gd name="T94" fmla="*/ 89 w 393"/>
                <a:gd name="T95" fmla="*/ 307 h 307"/>
                <a:gd name="T96" fmla="*/ 110 w 393"/>
                <a:gd name="T97" fmla="*/ 302 h 307"/>
                <a:gd name="T98" fmla="*/ 129 w 393"/>
                <a:gd name="T99" fmla="*/ 303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93" h="307">
                  <a:moveTo>
                    <a:pt x="140" y="305"/>
                  </a:moveTo>
                  <a:lnTo>
                    <a:pt x="147" y="298"/>
                  </a:lnTo>
                  <a:lnTo>
                    <a:pt x="147" y="292"/>
                  </a:lnTo>
                  <a:lnTo>
                    <a:pt x="147" y="285"/>
                  </a:lnTo>
                  <a:lnTo>
                    <a:pt x="153" y="279"/>
                  </a:lnTo>
                  <a:lnTo>
                    <a:pt x="158" y="272"/>
                  </a:lnTo>
                  <a:lnTo>
                    <a:pt x="161" y="265"/>
                  </a:lnTo>
                  <a:lnTo>
                    <a:pt x="167" y="251"/>
                  </a:lnTo>
                  <a:lnTo>
                    <a:pt x="171" y="242"/>
                  </a:lnTo>
                  <a:lnTo>
                    <a:pt x="174" y="234"/>
                  </a:lnTo>
                  <a:lnTo>
                    <a:pt x="182" y="226"/>
                  </a:lnTo>
                  <a:lnTo>
                    <a:pt x="182" y="218"/>
                  </a:lnTo>
                  <a:lnTo>
                    <a:pt x="193" y="208"/>
                  </a:lnTo>
                  <a:lnTo>
                    <a:pt x="205" y="200"/>
                  </a:lnTo>
                  <a:lnTo>
                    <a:pt x="220" y="198"/>
                  </a:lnTo>
                  <a:lnTo>
                    <a:pt x="227" y="190"/>
                  </a:lnTo>
                  <a:lnTo>
                    <a:pt x="234" y="179"/>
                  </a:lnTo>
                  <a:lnTo>
                    <a:pt x="249" y="155"/>
                  </a:lnTo>
                  <a:lnTo>
                    <a:pt x="253" y="147"/>
                  </a:lnTo>
                  <a:lnTo>
                    <a:pt x="260" y="138"/>
                  </a:lnTo>
                  <a:lnTo>
                    <a:pt x="263" y="130"/>
                  </a:lnTo>
                  <a:lnTo>
                    <a:pt x="270" y="122"/>
                  </a:lnTo>
                  <a:lnTo>
                    <a:pt x="283" y="118"/>
                  </a:lnTo>
                  <a:lnTo>
                    <a:pt x="305" y="115"/>
                  </a:lnTo>
                  <a:lnTo>
                    <a:pt x="317" y="109"/>
                  </a:lnTo>
                  <a:lnTo>
                    <a:pt x="336" y="104"/>
                  </a:lnTo>
                  <a:lnTo>
                    <a:pt x="348" y="100"/>
                  </a:lnTo>
                  <a:lnTo>
                    <a:pt x="361" y="92"/>
                  </a:lnTo>
                  <a:lnTo>
                    <a:pt x="367" y="81"/>
                  </a:lnTo>
                  <a:lnTo>
                    <a:pt x="383" y="74"/>
                  </a:lnTo>
                  <a:lnTo>
                    <a:pt x="393" y="65"/>
                  </a:lnTo>
                  <a:lnTo>
                    <a:pt x="392" y="56"/>
                  </a:lnTo>
                  <a:lnTo>
                    <a:pt x="385" y="43"/>
                  </a:lnTo>
                  <a:lnTo>
                    <a:pt x="379" y="33"/>
                  </a:lnTo>
                  <a:lnTo>
                    <a:pt x="369" y="23"/>
                  </a:lnTo>
                  <a:lnTo>
                    <a:pt x="354" y="16"/>
                  </a:lnTo>
                  <a:lnTo>
                    <a:pt x="336" y="10"/>
                  </a:lnTo>
                  <a:lnTo>
                    <a:pt x="321" y="3"/>
                  </a:lnTo>
                  <a:lnTo>
                    <a:pt x="310" y="0"/>
                  </a:lnTo>
                  <a:lnTo>
                    <a:pt x="297" y="2"/>
                  </a:lnTo>
                  <a:lnTo>
                    <a:pt x="289" y="9"/>
                  </a:lnTo>
                  <a:lnTo>
                    <a:pt x="297" y="17"/>
                  </a:lnTo>
                  <a:lnTo>
                    <a:pt x="293" y="26"/>
                  </a:lnTo>
                  <a:lnTo>
                    <a:pt x="279" y="23"/>
                  </a:lnTo>
                  <a:lnTo>
                    <a:pt x="270" y="29"/>
                  </a:lnTo>
                  <a:lnTo>
                    <a:pt x="277" y="40"/>
                  </a:lnTo>
                  <a:lnTo>
                    <a:pt x="274" y="49"/>
                  </a:lnTo>
                  <a:lnTo>
                    <a:pt x="260" y="50"/>
                  </a:lnTo>
                  <a:lnTo>
                    <a:pt x="253" y="40"/>
                  </a:lnTo>
                  <a:lnTo>
                    <a:pt x="244" y="39"/>
                  </a:lnTo>
                  <a:lnTo>
                    <a:pt x="236" y="43"/>
                  </a:lnTo>
                  <a:lnTo>
                    <a:pt x="234" y="62"/>
                  </a:lnTo>
                  <a:lnTo>
                    <a:pt x="226" y="79"/>
                  </a:lnTo>
                  <a:lnTo>
                    <a:pt x="221" y="88"/>
                  </a:lnTo>
                  <a:lnTo>
                    <a:pt x="208" y="94"/>
                  </a:lnTo>
                  <a:lnTo>
                    <a:pt x="199" y="99"/>
                  </a:lnTo>
                  <a:lnTo>
                    <a:pt x="195" y="106"/>
                  </a:lnTo>
                  <a:lnTo>
                    <a:pt x="182" y="112"/>
                  </a:lnTo>
                  <a:lnTo>
                    <a:pt x="168" y="110"/>
                  </a:lnTo>
                  <a:lnTo>
                    <a:pt x="159" y="111"/>
                  </a:lnTo>
                  <a:lnTo>
                    <a:pt x="152" y="116"/>
                  </a:lnTo>
                  <a:lnTo>
                    <a:pt x="141" y="117"/>
                  </a:lnTo>
                  <a:lnTo>
                    <a:pt x="129" y="124"/>
                  </a:lnTo>
                  <a:lnTo>
                    <a:pt x="118" y="132"/>
                  </a:lnTo>
                  <a:lnTo>
                    <a:pt x="111" y="142"/>
                  </a:lnTo>
                  <a:lnTo>
                    <a:pt x="99" y="146"/>
                  </a:lnTo>
                  <a:lnTo>
                    <a:pt x="89" y="152"/>
                  </a:lnTo>
                  <a:lnTo>
                    <a:pt x="89" y="160"/>
                  </a:lnTo>
                  <a:lnTo>
                    <a:pt x="76" y="162"/>
                  </a:lnTo>
                  <a:lnTo>
                    <a:pt x="69" y="171"/>
                  </a:lnTo>
                  <a:lnTo>
                    <a:pt x="60" y="178"/>
                  </a:lnTo>
                  <a:lnTo>
                    <a:pt x="48" y="181"/>
                  </a:lnTo>
                  <a:lnTo>
                    <a:pt x="28" y="181"/>
                  </a:lnTo>
                  <a:lnTo>
                    <a:pt x="15" y="182"/>
                  </a:lnTo>
                  <a:lnTo>
                    <a:pt x="13" y="190"/>
                  </a:lnTo>
                  <a:lnTo>
                    <a:pt x="2" y="201"/>
                  </a:lnTo>
                  <a:lnTo>
                    <a:pt x="1" y="214"/>
                  </a:lnTo>
                  <a:lnTo>
                    <a:pt x="0" y="228"/>
                  </a:lnTo>
                  <a:lnTo>
                    <a:pt x="3" y="236"/>
                  </a:lnTo>
                  <a:lnTo>
                    <a:pt x="9" y="241"/>
                  </a:lnTo>
                  <a:lnTo>
                    <a:pt x="8" y="247"/>
                  </a:lnTo>
                  <a:lnTo>
                    <a:pt x="24" y="245"/>
                  </a:lnTo>
                  <a:lnTo>
                    <a:pt x="40" y="241"/>
                  </a:lnTo>
                  <a:lnTo>
                    <a:pt x="56" y="241"/>
                  </a:lnTo>
                  <a:lnTo>
                    <a:pt x="64" y="242"/>
                  </a:lnTo>
                  <a:lnTo>
                    <a:pt x="63" y="251"/>
                  </a:lnTo>
                  <a:lnTo>
                    <a:pt x="61" y="261"/>
                  </a:lnTo>
                  <a:lnTo>
                    <a:pt x="75" y="256"/>
                  </a:lnTo>
                  <a:lnTo>
                    <a:pt x="81" y="265"/>
                  </a:lnTo>
                  <a:lnTo>
                    <a:pt x="89" y="267"/>
                  </a:lnTo>
                  <a:lnTo>
                    <a:pt x="95" y="274"/>
                  </a:lnTo>
                  <a:lnTo>
                    <a:pt x="93" y="283"/>
                  </a:lnTo>
                  <a:lnTo>
                    <a:pt x="87" y="289"/>
                  </a:lnTo>
                  <a:lnTo>
                    <a:pt x="80" y="298"/>
                  </a:lnTo>
                  <a:lnTo>
                    <a:pt x="88" y="301"/>
                  </a:lnTo>
                  <a:lnTo>
                    <a:pt x="89" y="307"/>
                  </a:lnTo>
                  <a:lnTo>
                    <a:pt x="99" y="302"/>
                  </a:lnTo>
                  <a:lnTo>
                    <a:pt x="110" y="302"/>
                  </a:lnTo>
                  <a:lnTo>
                    <a:pt x="117" y="304"/>
                  </a:lnTo>
                  <a:lnTo>
                    <a:pt x="129" y="303"/>
                  </a:lnTo>
                  <a:lnTo>
                    <a:pt x="140" y="305"/>
                  </a:lnTo>
                  <a:close/>
                </a:path>
              </a:pathLst>
            </a:custGeom>
            <a:solidFill>
              <a:srgbClr val="447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A148925B-A799-4B0F-9D4C-9FA2C0BC4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" y="839"/>
              <a:ext cx="393" cy="307"/>
            </a:xfrm>
            <a:custGeom>
              <a:avLst/>
              <a:gdLst>
                <a:gd name="T0" fmla="*/ 147 w 393"/>
                <a:gd name="T1" fmla="*/ 298 h 307"/>
                <a:gd name="T2" fmla="*/ 147 w 393"/>
                <a:gd name="T3" fmla="*/ 285 h 307"/>
                <a:gd name="T4" fmla="*/ 158 w 393"/>
                <a:gd name="T5" fmla="*/ 272 h 307"/>
                <a:gd name="T6" fmla="*/ 167 w 393"/>
                <a:gd name="T7" fmla="*/ 251 h 307"/>
                <a:gd name="T8" fmla="*/ 174 w 393"/>
                <a:gd name="T9" fmla="*/ 234 h 307"/>
                <a:gd name="T10" fmla="*/ 182 w 393"/>
                <a:gd name="T11" fmla="*/ 218 h 307"/>
                <a:gd name="T12" fmla="*/ 205 w 393"/>
                <a:gd name="T13" fmla="*/ 200 h 307"/>
                <a:gd name="T14" fmla="*/ 227 w 393"/>
                <a:gd name="T15" fmla="*/ 190 h 307"/>
                <a:gd name="T16" fmla="*/ 249 w 393"/>
                <a:gd name="T17" fmla="*/ 155 h 307"/>
                <a:gd name="T18" fmla="*/ 260 w 393"/>
                <a:gd name="T19" fmla="*/ 138 h 307"/>
                <a:gd name="T20" fmla="*/ 270 w 393"/>
                <a:gd name="T21" fmla="*/ 122 h 307"/>
                <a:gd name="T22" fmla="*/ 305 w 393"/>
                <a:gd name="T23" fmla="*/ 115 h 307"/>
                <a:gd name="T24" fmla="*/ 336 w 393"/>
                <a:gd name="T25" fmla="*/ 104 h 307"/>
                <a:gd name="T26" fmla="*/ 361 w 393"/>
                <a:gd name="T27" fmla="*/ 92 h 307"/>
                <a:gd name="T28" fmla="*/ 383 w 393"/>
                <a:gd name="T29" fmla="*/ 74 h 307"/>
                <a:gd name="T30" fmla="*/ 392 w 393"/>
                <a:gd name="T31" fmla="*/ 56 h 307"/>
                <a:gd name="T32" fmla="*/ 379 w 393"/>
                <a:gd name="T33" fmla="*/ 33 h 307"/>
                <a:gd name="T34" fmla="*/ 354 w 393"/>
                <a:gd name="T35" fmla="*/ 16 h 307"/>
                <a:gd name="T36" fmla="*/ 321 w 393"/>
                <a:gd name="T37" fmla="*/ 3 h 307"/>
                <a:gd name="T38" fmla="*/ 297 w 393"/>
                <a:gd name="T39" fmla="*/ 2 h 307"/>
                <a:gd name="T40" fmla="*/ 297 w 393"/>
                <a:gd name="T41" fmla="*/ 17 h 307"/>
                <a:gd name="T42" fmla="*/ 279 w 393"/>
                <a:gd name="T43" fmla="*/ 23 h 307"/>
                <a:gd name="T44" fmla="*/ 277 w 393"/>
                <a:gd name="T45" fmla="*/ 40 h 307"/>
                <a:gd name="T46" fmla="*/ 260 w 393"/>
                <a:gd name="T47" fmla="*/ 50 h 307"/>
                <a:gd name="T48" fmla="*/ 244 w 393"/>
                <a:gd name="T49" fmla="*/ 39 h 307"/>
                <a:gd name="T50" fmla="*/ 234 w 393"/>
                <a:gd name="T51" fmla="*/ 62 h 307"/>
                <a:gd name="T52" fmla="*/ 221 w 393"/>
                <a:gd name="T53" fmla="*/ 88 h 307"/>
                <a:gd name="T54" fmla="*/ 199 w 393"/>
                <a:gd name="T55" fmla="*/ 99 h 307"/>
                <a:gd name="T56" fmla="*/ 182 w 393"/>
                <a:gd name="T57" fmla="*/ 112 h 307"/>
                <a:gd name="T58" fmla="*/ 159 w 393"/>
                <a:gd name="T59" fmla="*/ 111 h 307"/>
                <a:gd name="T60" fmla="*/ 141 w 393"/>
                <a:gd name="T61" fmla="*/ 117 h 307"/>
                <a:gd name="T62" fmla="*/ 118 w 393"/>
                <a:gd name="T63" fmla="*/ 132 h 307"/>
                <a:gd name="T64" fmla="*/ 99 w 393"/>
                <a:gd name="T65" fmla="*/ 146 h 307"/>
                <a:gd name="T66" fmla="*/ 89 w 393"/>
                <a:gd name="T67" fmla="*/ 160 h 307"/>
                <a:gd name="T68" fmla="*/ 69 w 393"/>
                <a:gd name="T69" fmla="*/ 171 h 307"/>
                <a:gd name="T70" fmla="*/ 48 w 393"/>
                <a:gd name="T71" fmla="*/ 181 h 307"/>
                <a:gd name="T72" fmla="*/ 15 w 393"/>
                <a:gd name="T73" fmla="*/ 182 h 307"/>
                <a:gd name="T74" fmla="*/ 2 w 393"/>
                <a:gd name="T75" fmla="*/ 201 h 307"/>
                <a:gd name="T76" fmla="*/ 0 w 393"/>
                <a:gd name="T77" fmla="*/ 228 h 307"/>
                <a:gd name="T78" fmla="*/ 9 w 393"/>
                <a:gd name="T79" fmla="*/ 241 h 307"/>
                <a:gd name="T80" fmla="*/ 24 w 393"/>
                <a:gd name="T81" fmla="*/ 245 h 307"/>
                <a:gd name="T82" fmla="*/ 56 w 393"/>
                <a:gd name="T83" fmla="*/ 241 h 307"/>
                <a:gd name="T84" fmla="*/ 63 w 393"/>
                <a:gd name="T85" fmla="*/ 251 h 307"/>
                <a:gd name="T86" fmla="*/ 75 w 393"/>
                <a:gd name="T87" fmla="*/ 256 h 307"/>
                <a:gd name="T88" fmla="*/ 89 w 393"/>
                <a:gd name="T89" fmla="*/ 267 h 307"/>
                <a:gd name="T90" fmla="*/ 93 w 393"/>
                <a:gd name="T91" fmla="*/ 283 h 307"/>
                <a:gd name="T92" fmla="*/ 80 w 393"/>
                <a:gd name="T93" fmla="*/ 298 h 307"/>
                <a:gd name="T94" fmla="*/ 89 w 393"/>
                <a:gd name="T95" fmla="*/ 307 h 307"/>
                <a:gd name="T96" fmla="*/ 110 w 393"/>
                <a:gd name="T97" fmla="*/ 302 h 307"/>
                <a:gd name="T98" fmla="*/ 129 w 393"/>
                <a:gd name="T99" fmla="*/ 303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93" h="307">
                  <a:moveTo>
                    <a:pt x="140" y="305"/>
                  </a:moveTo>
                  <a:lnTo>
                    <a:pt x="147" y="298"/>
                  </a:lnTo>
                  <a:lnTo>
                    <a:pt x="147" y="292"/>
                  </a:lnTo>
                  <a:lnTo>
                    <a:pt x="147" y="285"/>
                  </a:lnTo>
                  <a:lnTo>
                    <a:pt x="153" y="279"/>
                  </a:lnTo>
                  <a:lnTo>
                    <a:pt x="158" y="272"/>
                  </a:lnTo>
                  <a:lnTo>
                    <a:pt x="161" y="265"/>
                  </a:lnTo>
                  <a:lnTo>
                    <a:pt x="167" y="251"/>
                  </a:lnTo>
                  <a:lnTo>
                    <a:pt x="171" y="242"/>
                  </a:lnTo>
                  <a:lnTo>
                    <a:pt x="174" y="234"/>
                  </a:lnTo>
                  <a:lnTo>
                    <a:pt x="182" y="226"/>
                  </a:lnTo>
                  <a:lnTo>
                    <a:pt x="182" y="218"/>
                  </a:lnTo>
                  <a:lnTo>
                    <a:pt x="193" y="208"/>
                  </a:lnTo>
                  <a:lnTo>
                    <a:pt x="205" y="200"/>
                  </a:lnTo>
                  <a:lnTo>
                    <a:pt x="220" y="198"/>
                  </a:lnTo>
                  <a:lnTo>
                    <a:pt x="227" y="190"/>
                  </a:lnTo>
                  <a:lnTo>
                    <a:pt x="234" y="179"/>
                  </a:lnTo>
                  <a:lnTo>
                    <a:pt x="249" y="155"/>
                  </a:lnTo>
                  <a:lnTo>
                    <a:pt x="253" y="147"/>
                  </a:lnTo>
                  <a:lnTo>
                    <a:pt x="260" y="138"/>
                  </a:lnTo>
                  <a:lnTo>
                    <a:pt x="263" y="130"/>
                  </a:lnTo>
                  <a:lnTo>
                    <a:pt x="270" y="122"/>
                  </a:lnTo>
                  <a:lnTo>
                    <a:pt x="283" y="118"/>
                  </a:lnTo>
                  <a:lnTo>
                    <a:pt x="305" y="115"/>
                  </a:lnTo>
                  <a:lnTo>
                    <a:pt x="317" y="109"/>
                  </a:lnTo>
                  <a:lnTo>
                    <a:pt x="336" y="104"/>
                  </a:lnTo>
                  <a:lnTo>
                    <a:pt x="348" y="100"/>
                  </a:lnTo>
                  <a:lnTo>
                    <a:pt x="361" y="92"/>
                  </a:lnTo>
                  <a:lnTo>
                    <a:pt x="367" y="81"/>
                  </a:lnTo>
                  <a:lnTo>
                    <a:pt x="383" y="74"/>
                  </a:lnTo>
                  <a:lnTo>
                    <a:pt x="393" y="65"/>
                  </a:lnTo>
                  <a:lnTo>
                    <a:pt x="392" y="56"/>
                  </a:lnTo>
                  <a:lnTo>
                    <a:pt x="385" y="43"/>
                  </a:lnTo>
                  <a:lnTo>
                    <a:pt x="379" y="33"/>
                  </a:lnTo>
                  <a:lnTo>
                    <a:pt x="369" y="23"/>
                  </a:lnTo>
                  <a:lnTo>
                    <a:pt x="354" y="16"/>
                  </a:lnTo>
                  <a:lnTo>
                    <a:pt x="336" y="10"/>
                  </a:lnTo>
                  <a:lnTo>
                    <a:pt x="321" y="3"/>
                  </a:lnTo>
                  <a:lnTo>
                    <a:pt x="310" y="0"/>
                  </a:lnTo>
                  <a:lnTo>
                    <a:pt x="297" y="2"/>
                  </a:lnTo>
                  <a:lnTo>
                    <a:pt x="289" y="9"/>
                  </a:lnTo>
                  <a:lnTo>
                    <a:pt x="297" y="17"/>
                  </a:lnTo>
                  <a:lnTo>
                    <a:pt x="293" y="26"/>
                  </a:lnTo>
                  <a:lnTo>
                    <a:pt x="279" y="23"/>
                  </a:lnTo>
                  <a:lnTo>
                    <a:pt x="270" y="29"/>
                  </a:lnTo>
                  <a:lnTo>
                    <a:pt x="277" y="40"/>
                  </a:lnTo>
                  <a:lnTo>
                    <a:pt x="274" y="49"/>
                  </a:lnTo>
                  <a:lnTo>
                    <a:pt x="260" y="50"/>
                  </a:lnTo>
                  <a:lnTo>
                    <a:pt x="253" y="40"/>
                  </a:lnTo>
                  <a:lnTo>
                    <a:pt x="244" y="39"/>
                  </a:lnTo>
                  <a:lnTo>
                    <a:pt x="236" y="43"/>
                  </a:lnTo>
                  <a:lnTo>
                    <a:pt x="234" y="62"/>
                  </a:lnTo>
                  <a:lnTo>
                    <a:pt x="226" y="79"/>
                  </a:lnTo>
                  <a:lnTo>
                    <a:pt x="221" y="88"/>
                  </a:lnTo>
                  <a:lnTo>
                    <a:pt x="208" y="94"/>
                  </a:lnTo>
                  <a:lnTo>
                    <a:pt x="199" y="99"/>
                  </a:lnTo>
                  <a:lnTo>
                    <a:pt x="195" y="106"/>
                  </a:lnTo>
                  <a:lnTo>
                    <a:pt x="182" y="112"/>
                  </a:lnTo>
                  <a:lnTo>
                    <a:pt x="168" y="110"/>
                  </a:lnTo>
                  <a:lnTo>
                    <a:pt x="159" y="111"/>
                  </a:lnTo>
                  <a:lnTo>
                    <a:pt x="152" y="116"/>
                  </a:lnTo>
                  <a:lnTo>
                    <a:pt x="141" y="117"/>
                  </a:lnTo>
                  <a:lnTo>
                    <a:pt x="129" y="124"/>
                  </a:lnTo>
                  <a:lnTo>
                    <a:pt x="118" y="132"/>
                  </a:lnTo>
                  <a:lnTo>
                    <a:pt x="111" y="142"/>
                  </a:lnTo>
                  <a:lnTo>
                    <a:pt x="99" y="146"/>
                  </a:lnTo>
                  <a:lnTo>
                    <a:pt x="89" y="152"/>
                  </a:lnTo>
                  <a:lnTo>
                    <a:pt x="89" y="160"/>
                  </a:lnTo>
                  <a:lnTo>
                    <a:pt x="76" y="162"/>
                  </a:lnTo>
                  <a:lnTo>
                    <a:pt x="69" y="171"/>
                  </a:lnTo>
                  <a:lnTo>
                    <a:pt x="60" y="178"/>
                  </a:lnTo>
                  <a:lnTo>
                    <a:pt x="48" y="181"/>
                  </a:lnTo>
                  <a:lnTo>
                    <a:pt x="28" y="181"/>
                  </a:lnTo>
                  <a:lnTo>
                    <a:pt x="15" y="182"/>
                  </a:lnTo>
                  <a:lnTo>
                    <a:pt x="13" y="190"/>
                  </a:lnTo>
                  <a:lnTo>
                    <a:pt x="2" y="201"/>
                  </a:lnTo>
                  <a:lnTo>
                    <a:pt x="1" y="214"/>
                  </a:lnTo>
                  <a:lnTo>
                    <a:pt x="0" y="228"/>
                  </a:lnTo>
                  <a:lnTo>
                    <a:pt x="3" y="236"/>
                  </a:lnTo>
                  <a:lnTo>
                    <a:pt x="9" y="241"/>
                  </a:lnTo>
                  <a:lnTo>
                    <a:pt x="8" y="247"/>
                  </a:lnTo>
                  <a:lnTo>
                    <a:pt x="24" y="245"/>
                  </a:lnTo>
                  <a:lnTo>
                    <a:pt x="40" y="241"/>
                  </a:lnTo>
                  <a:lnTo>
                    <a:pt x="56" y="241"/>
                  </a:lnTo>
                  <a:lnTo>
                    <a:pt x="64" y="242"/>
                  </a:lnTo>
                  <a:lnTo>
                    <a:pt x="63" y="251"/>
                  </a:lnTo>
                  <a:lnTo>
                    <a:pt x="61" y="261"/>
                  </a:lnTo>
                  <a:lnTo>
                    <a:pt x="75" y="256"/>
                  </a:lnTo>
                  <a:lnTo>
                    <a:pt x="81" y="265"/>
                  </a:lnTo>
                  <a:lnTo>
                    <a:pt x="89" y="267"/>
                  </a:lnTo>
                  <a:lnTo>
                    <a:pt x="95" y="274"/>
                  </a:lnTo>
                  <a:lnTo>
                    <a:pt x="93" y="283"/>
                  </a:lnTo>
                  <a:lnTo>
                    <a:pt x="87" y="289"/>
                  </a:lnTo>
                  <a:lnTo>
                    <a:pt x="80" y="298"/>
                  </a:lnTo>
                  <a:lnTo>
                    <a:pt x="88" y="301"/>
                  </a:lnTo>
                  <a:lnTo>
                    <a:pt x="89" y="307"/>
                  </a:lnTo>
                  <a:lnTo>
                    <a:pt x="99" y="302"/>
                  </a:lnTo>
                  <a:lnTo>
                    <a:pt x="110" y="302"/>
                  </a:lnTo>
                  <a:lnTo>
                    <a:pt x="117" y="304"/>
                  </a:lnTo>
                  <a:lnTo>
                    <a:pt x="129" y="303"/>
                  </a:lnTo>
                  <a:lnTo>
                    <a:pt x="140" y="305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E092D225-4762-4E9F-A95B-BA1FCA039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" y="1038"/>
              <a:ext cx="220" cy="342"/>
            </a:xfrm>
            <a:custGeom>
              <a:avLst/>
              <a:gdLst>
                <a:gd name="T0" fmla="*/ 210 w 220"/>
                <a:gd name="T1" fmla="*/ 76 h 342"/>
                <a:gd name="T2" fmla="*/ 213 w 220"/>
                <a:gd name="T3" fmla="*/ 93 h 342"/>
                <a:gd name="T4" fmla="*/ 217 w 220"/>
                <a:gd name="T5" fmla="*/ 112 h 342"/>
                <a:gd name="T6" fmla="*/ 204 w 220"/>
                <a:gd name="T7" fmla="*/ 124 h 342"/>
                <a:gd name="T8" fmla="*/ 184 w 220"/>
                <a:gd name="T9" fmla="*/ 131 h 342"/>
                <a:gd name="T10" fmla="*/ 160 w 220"/>
                <a:gd name="T11" fmla="*/ 142 h 342"/>
                <a:gd name="T12" fmla="*/ 149 w 220"/>
                <a:gd name="T13" fmla="*/ 158 h 342"/>
                <a:gd name="T14" fmla="*/ 143 w 220"/>
                <a:gd name="T15" fmla="*/ 181 h 342"/>
                <a:gd name="T16" fmla="*/ 156 w 220"/>
                <a:gd name="T17" fmla="*/ 202 h 342"/>
                <a:gd name="T18" fmla="*/ 181 w 220"/>
                <a:gd name="T19" fmla="*/ 222 h 342"/>
                <a:gd name="T20" fmla="*/ 192 w 220"/>
                <a:gd name="T21" fmla="*/ 244 h 342"/>
                <a:gd name="T22" fmla="*/ 179 w 220"/>
                <a:gd name="T23" fmla="*/ 251 h 342"/>
                <a:gd name="T24" fmla="*/ 151 w 220"/>
                <a:gd name="T25" fmla="*/ 251 h 342"/>
                <a:gd name="T26" fmla="*/ 143 w 220"/>
                <a:gd name="T27" fmla="*/ 263 h 342"/>
                <a:gd name="T28" fmla="*/ 143 w 220"/>
                <a:gd name="T29" fmla="*/ 272 h 342"/>
                <a:gd name="T30" fmla="*/ 161 w 220"/>
                <a:gd name="T31" fmla="*/ 284 h 342"/>
                <a:gd name="T32" fmla="*/ 166 w 220"/>
                <a:gd name="T33" fmla="*/ 301 h 342"/>
                <a:gd name="T34" fmla="*/ 173 w 220"/>
                <a:gd name="T35" fmla="*/ 310 h 342"/>
                <a:gd name="T36" fmla="*/ 180 w 220"/>
                <a:gd name="T37" fmla="*/ 317 h 342"/>
                <a:gd name="T38" fmla="*/ 191 w 220"/>
                <a:gd name="T39" fmla="*/ 325 h 342"/>
                <a:gd name="T40" fmla="*/ 184 w 220"/>
                <a:gd name="T41" fmla="*/ 342 h 342"/>
                <a:gd name="T42" fmla="*/ 161 w 220"/>
                <a:gd name="T43" fmla="*/ 340 h 342"/>
                <a:gd name="T44" fmla="*/ 146 w 220"/>
                <a:gd name="T45" fmla="*/ 341 h 342"/>
                <a:gd name="T46" fmla="*/ 133 w 220"/>
                <a:gd name="T47" fmla="*/ 331 h 342"/>
                <a:gd name="T48" fmla="*/ 113 w 220"/>
                <a:gd name="T49" fmla="*/ 319 h 342"/>
                <a:gd name="T50" fmla="*/ 100 w 220"/>
                <a:gd name="T51" fmla="*/ 306 h 342"/>
                <a:gd name="T52" fmla="*/ 87 w 220"/>
                <a:gd name="T53" fmla="*/ 297 h 342"/>
                <a:gd name="T54" fmla="*/ 67 w 220"/>
                <a:gd name="T55" fmla="*/ 300 h 342"/>
                <a:gd name="T56" fmla="*/ 50 w 220"/>
                <a:gd name="T57" fmla="*/ 284 h 342"/>
                <a:gd name="T58" fmla="*/ 29 w 220"/>
                <a:gd name="T59" fmla="*/ 280 h 342"/>
                <a:gd name="T60" fmla="*/ 30 w 220"/>
                <a:gd name="T61" fmla="*/ 261 h 342"/>
                <a:gd name="T62" fmla="*/ 27 w 220"/>
                <a:gd name="T63" fmla="*/ 248 h 342"/>
                <a:gd name="T64" fmla="*/ 33 w 220"/>
                <a:gd name="T65" fmla="*/ 229 h 342"/>
                <a:gd name="T66" fmla="*/ 20 w 220"/>
                <a:gd name="T67" fmla="*/ 222 h 342"/>
                <a:gd name="T68" fmla="*/ 16 w 220"/>
                <a:gd name="T69" fmla="*/ 207 h 342"/>
                <a:gd name="T70" fmla="*/ 26 w 220"/>
                <a:gd name="T71" fmla="*/ 196 h 342"/>
                <a:gd name="T72" fmla="*/ 10 w 220"/>
                <a:gd name="T73" fmla="*/ 182 h 342"/>
                <a:gd name="T74" fmla="*/ 7 w 220"/>
                <a:gd name="T75" fmla="*/ 170 h 342"/>
                <a:gd name="T76" fmla="*/ 11 w 220"/>
                <a:gd name="T77" fmla="*/ 154 h 342"/>
                <a:gd name="T78" fmla="*/ 17 w 220"/>
                <a:gd name="T79" fmla="*/ 140 h 342"/>
                <a:gd name="T80" fmla="*/ 22 w 220"/>
                <a:gd name="T81" fmla="*/ 123 h 342"/>
                <a:gd name="T82" fmla="*/ 32 w 220"/>
                <a:gd name="T83" fmla="*/ 107 h 342"/>
                <a:gd name="T84" fmla="*/ 29 w 220"/>
                <a:gd name="T85" fmla="*/ 91 h 342"/>
                <a:gd name="T86" fmla="*/ 30 w 220"/>
                <a:gd name="T87" fmla="*/ 74 h 342"/>
                <a:gd name="T88" fmla="*/ 37 w 220"/>
                <a:gd name="T89" fmla="*/ 55 h 342"/>
                <a:gd name="T90" fmla="*/ 58 w 220"/>
                <a:gd name="T91" fmla="*/ 51 h 342"/>
                <a:gd name="T92" fmla="*/ 86 w 220"/>
                <a:gd name="T93" fmla="*/ 55 h 342"/>
                <a:gd name="T94" fmla="*/ 117 w 220"/>
                <a:gd name="T95" fmla="*/ 47 h 342"/>
                <a:gd name="T96" fmla="*/ 115 w 220"/>
                <a:gd name="T97" fmla="*/ 20 h 342"/>
                <a:gd name="T98" fmla="*/ 125 w 220"/>
                <a:gd name="T99" fmla="*/ 9 h 342"/>
                <a:gd name="T100" fmla="*/ 137 w 220"/>
                <a:gd name="T101" fmla="*/ 0 h 342"/>
                <a:gd name="T102" fmla="*/ 155 w 220"/>
                <a:gd name="T103" fmla="*/ 4 h 342"/>
                <a:gd name="T104" fmla="*/ 183 w 220"/>
                <a:gd name="T105" fmla="*/ 9 h 342"/>
                <a:gd name="T106" fmla="*/ 208 w 220"/>
                <a:gd name="T107" fmla="*/ 8 h 342"/>
                <a:gd name="T108" fmla="*/ 215 w 220"/>
                <a:gd name="T109" fmla="*/ 14 h 342"/>
                <a:gd name="T110" fmla="*/ 203 w 220"/>
                <a:gd name="T111" fmla="*/ 38 h 342"/>
                <a:gd name="T112" fmla="*/ 206 w 220"/>
                <a:gd name="T113" fmla="*/ 59 h 342"/>
                <a:gd name="T114" fmla="*/ 210 w 220"/>
                <a:gd name="T115" fmla="*/ 7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0" h="342">
                  <a:moveTo>
                    <a:pt x="204" y="76"/>
                  </a:moveTo>
                  <a:lnTo>
                    <a:pt x="210" y="76"/>
                  </a:lnTo>
                  <a:lnTo>
                    <a:pt x="220" y="82"/>
                  </a:lnTo>
                  <a:lnTo>
                    <a:pt x="213" y="93"/>
                  </a:lnTo>
                  <a:lnTo>
                    <a:pt x="215" y="101"/>
                  </a:lnTo>
                  <a:lnTo>
                    <a:pt x="217" y="112"/>
                  </a:lnTo>
                  <a:lnTo>
                    <a:pt x="207" y="116"/>
                  </a:lnTo>
                  <a:lnTo>
                    <a:pt x="204" y="124"/>
                  </a:lnTo>
                  <a:lnTo>
                    <a:pt x="195" y="126"/>
                  </a:lnTo>
                  <a:lnTo>
                    <a:pt x="184" y="131"/>
                  </a:lnTo>
                  <a:lnTo>
                    <a:pt x="170" y="132"/>
                  </a:lnTo>
                  <a:lnTo>
                    <a:pt x="160" y="142"/>
                  </a:lnTo>
                  <a:lnTo>
                    <a:pt x="156" y="152"/>
                  </a:lnTo>
                  <a:lnTo>
                    <a:pt x="149" y="158"/>
                  </a:lnTo>
                  <a:lnTo>
                    <a:pt x="143" y="166"/>
                  </a:lnTo>
                  <a:lnTo>
                    <a:pt x="143" y="181"/>
                  </a:lnTo>
                  <a:lnTo>
                    <a:pt x="145" y="191"/>
                  </a:lnTo>
                  <a:lnTo>
                    <a:pt x="156" y="202"/>
                  </a:lnTo>
                  <a:lnTo>
                    <a:pt x="169" y="212"/>
                  </a:lnTo>
                  <a:lnTo>
                    <a:pt x="181" y="222"/>
                  </a:lnTo>
                  <a:lnTo>
                    <a:pt x="189" y="235"/>
                  </a:lnTo>
                  <a:lnTo>
                    <a:pt x="192" y="244"/>
                  </a:lnTo>
                  <a:lnTo>
                    <a:pt x="192" y="252"/>
                  </a:lnTo>
                  <a:lnTo>
                    <a:pt x="179" y="251"/>
                  </a:lnTo>
                  <a:lnTo>
                    <a:pt x="169" y="252"/>
                  </a:lnTo>
                  <a:lnTo>
                    <a:pt x="151" y="251"/>
                  </a:lnTo>
                  <a:lnTo>
                    <a:pt x="144" y="254"/>
                  </a:lnTo>
                  <a:lnTo>
                    <a:pt x="143" y="263"/>
                  </a:lnTo>
                  <a:lnTo>
                    <a:pt x="133" y="267"/>
                  </a:lnTo>
                  <a:lnTo>
                    <a:pt x="143" y="272"/>
                  </a:lnTo>
                  <a:lnTo>
                    <a:pt x="154" y="275"/>
                  </a:lnTo>
                  <a:lnTo>
                    <a:pt x="161" y="284"/>
                  </a:lnTo>
                  <a:lnTo>
                    <a:pt x="167" y="293"/>
                  </a:lnTo>
                  <a:lnTo>
                    <a:pt x="166" y="301"/>
                  </a:lnTo>
                  <a:lnTo>
                    <a:pt x="164" y="310"/>
                  </a:lnTo>
                  <a:lnTo>
                    <a:pt x="173" y="310"/>
                  </a:lnTo>
                  <a:lnTo>
                    <a:pt x="179" y="310"/>
                  </a:lnTo>
                  <a:lnTo>
                    <a:pt x="180" y="317"/>
                  </a:lnTo>
                  <a:lnTo>
                    <a:pt x="184" y="325"/>
                  </a:lnTo>
                  <a:lnTo>
                    <a:pt x="191" y="325"/>
                  </a:lnTo>
                  <a:lnTo>
                    <a:pt x="189" y="334"/>
                  </a:lnTo>
                  <a:lnTo>
                    <a:pt x="184" y="342"/>
                  </a:lnTo>
                  <a:lnTo>
                    <a:pt x="172" y="341"/>
                  </a:lnTo>
                  <a:lnTo>
                    <a:pt x="161" y="340"/>
                  </a:lnTo>
                  <a:lnTo>
                    <a:pt x="155" y="335"/>
                  </a:lnTo>
                  <a:lnTo>
                    <a:pt x="146" y="341"/>
                  </a:lnTo>
                  <a:lnTo>
                    <a:pt x="138" y="340"/>
                  </a:lnTo>
                  <a:lnTo>
                    <a:pt x="133" y="331"/>
                  </a:lnTo>
                  <a:lnTo>
                    <a:pt x="123" y="328"/>
                  </a:lnTo>
                  <a:lnTo>
                    <a:pt x="113" y="319"/>
                  </a:lnTo>
                  <a:lnTo>
                    <a:pt x="109" y="310"/>
                  </a:lnTo>
                  <a:lnTo>
                    <a:pt x="100" y="306"/>
                  </a:lnTo>
                  <a:lnTo>
                    <a:pt x="92" y="310"/>
                  </a:lnTo>
                  <a:lnTo>
                    <a:pt x="87" y="297"/>
                  </a:lnTo>
                  <a:lnTo>
                    <a:pt x="80" y="305"/>
                  </a:lnTo>
                  <a:lnTo>
                    <a:pt x="67" y="300"/>
                  </a:lnTo>
                  <a:lnTo>
                    <a:pt x="59" y="292"/>
                  </a:lnTo>
                  <a:lnTo>
                    <a:pt x="50" y="284"/>
                  </a:lnTo>
                  <a:lnTo>
                    <a:pt x="40" y="278"/>
                  </a:lnTo>
                  <a:lnTo>
                    <a:pt x="29" y="280"/>
                  </a:lnTo>
                  <a:lnTo>
                    <a:pt x="28" y="270"/>
                  </a:lnTo>
                  <a:lnTo>
                    <a:pt x="30" y="261"/>
                  </a:lnTo>
                  <a:lnTo>
                    <a:pt x="32" y="255"/>
                  </a:lnTo>
                  <a:lnTo>
                    <a:pt x="27" y="248"/>
                  </a:lnTo>
                  <a:lnTo>
                    <a:pt x="22" y="237"/>
                  </a:lnTo>
                  <a:lnTo>
                    <a:pt x="33" y="229"/>
                  </a:lnTo>
                  <a:lnTo>
                    <a:pt x="27" y="227"/>
                  </a:lnTo>
                  <a:lnTo>
                    <a:pt x="20" y="222"/>
                  </a:lnTo>
                  <a:lnTo>
                    <a:pt x="17" y="218"/>
                  </a:lnTo>
                  <a:lnTo>
                    <a:pt x="16" y="207"/>
                  </a:lnTo>
                  <a:lnTo>
                    <a:pt x="24" y="202"/>
                  </a:lnTo>
                  <a:lnTo>
                    <a:pt x="26" y="196"/>
                  </a:lnTo>
                  <a:lnTo>
                    <a:pt x="17" y="185"/>
                  </a:lnTo>
                  <a:lnTo>
                    <a:pt x="10" y="182"/>
                  </a:lnTo>
                  <a:lnTo>
                    <a:pt x="0" y="177"/>
                  </a:lnTo>
                  <a:lnTo>
                    <a:pt x="7" y="170"/>
                  </a:lnTo>
                  <a:lnTo>
                    <a:pt x="5" y="159"/>
                  </a:lnTo>
                  <a:lnTo>
                    <a:pt x="11" y="154"/>
                  </a:lnTo>
                  <a:lnTo>
                    <a:pt x="15" y="146"/>
                  </a:lnTo>
                  <a:lnTo>
                    <a:pt x="17" y="140"/>
                  </a:lnTo>
                  <a:lnTo>
                    <a:pt x="21" y="130"/>
                  </a:lnTo>
                  <a:lnTo>
                    <a:pt x="22" y="123"/>
                  </a:lnTo>
                  <a:lnTo>
                    <a:pt x="28" y="115"/>
                  </a:lnTo>
                  <a:lnTo>
                    <a:pt x="32" y="107"/>
                  </a:lnTo>
                  <a:lnTo>
                    <a:pt x="32" y="98"/>
                  </a:lnTo>
                  <a:lnTo>
                    <a:pt x="29" y="91"/>
                  </a:lnTo>
                  <a:lnTo>
                    <a:pt x="34" y="82"/>
                  </a:lnTo>
                  <a:lnTo>
                    <a:pt x="30" y="74"/>
                  </a:lnTo>
                  <a:lnTo>
                    <a:pt x="30" y="59"/>
                  </a:lnTo>
                  <a:lnTo>
                    <a:pt x="37" y="55"/>
                  </a:lnTo>
                  <a:lnTo>
                    <a:pt x="44" y="47"/>
                  </a:lnTo>
                  <a:lnTo>
                    <a:pt x="58" y="51"/>
                  </a:lnTo>
                  <a:lnTo>
                    <a:pt x="70" y="52"/>
                  </a:lnTo>
                  <a:lnTo>
                    <a:pt x="86" y="55"/>
                  </a:lnTo>
                  <a:lnTo>
                    <a:pt x="105" y="52"/>
                  </a:lnTo>
                  <a:lnTo>
                    <a:pt x="117" y="47"/>
                  </a:lnTo>
                  <a:lnTo>
                    <a:pt x="115" y="32"/>
                  </a:lnTo>
                  <a:lnTo>
                    <a:pt x="115" y="20"/>
                  </a:lnTo>
                  <a:lnTo>
                    <a:pt x="119" y="12"/>
                  </a:lnTo>
                  <a:lnTo>
                    <a:pt x="125" y="9"/>
                  </a:lnTo>
                  <a:lnTo>
                    <a:pt x="127" y="0"/>
                  </a:lnTo>
                  <a:lnTo>
                    <a:pt x="137" y="0"/>
                  </a:lnTo>
                  <a:lnTo>
                    <a:pt x="145" y="2"/>
                  </a:lnTo>
                  <a:lnTo>
                    <a:pt x="155" y="4"/>
                  </a:lnTo>
                  <a:lnTo>
                    <a:pt x="170" y="8"/>
                  </a:lnTo>
                  <a:lnTo>
                    <a:pt x="183" y="9"/>
                  </a:lnTo>
                  <a:lnTo>
                    <a:pt x="193" y="10"/>
                  </a:lnTo>
                  <a:lnTo>
                    <a:pt x="208" y="8"/>
                  </a:lnTo>
                  <a:lnTo>
                    <a:pt x="217" y="5"/>
                  </a:lnTo>
                  <a:lnTo>
                    <a:pt x="215" y="14"/>
                  </a:lnTo>
                  <a:lnTo>
                    <a:pt x="204" y="25"/>
                  </a:lnTo>
                  <a:lnTo>
                    <a:pt x="203" y="38"/>
                  </a:lnTo>
                  <a:lnTo>
                    <a:pt x="202" y="51"/>
                  </a:lnTo>
                  <a:lnTo>
                    <a:pt x="206" y="59"/>
                  </a:lnTo>
                  <a:lnTo>
                    <a:pt x="211" y="64"/>
                  </a:lnTo>
                  <a:lnTo>
                    <a:pt x="210" y="70"/>
                  </a:lnTo>
                  <a:lnTo>
                    <a:pt x="204" y="76"/>
                  </a:lnTo>
                  <a:close/>
                </a:path>
              </a:pathLst>
            </a:custGeom>
            <a:solidFill>
              <a:srgbClr val="447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C5F3CCD0-3E39-424C-9D3D-0727E30E3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" y="1038"/>
              <a:ext cx="220" cy="342"/>
            </a:xfrm>
            <a:custGeom>
              <a:avLst/>
              <a:gdLst>
                <a:gd name="T0" fmla="*/ 210 w 220"/>
                <a:gd name="T1" fmla="*/ 76 h 342"/>
                <a:gd name="T2" fmla="*/ 213 w 220"/>
                <a:gd name="T3" fmla="*/ 93 h 342"/>
                <a:gd name="T4" fmla="*/ 217 w 220"/>
                <a:gd name="T5" fmla="*/ 112 h 342"/>
                <a:gd name="T6" fmla="*/ 204 w 220"/>
                <a:gd name="T7" fmla="*/ 124 h 342"/>
                <a:gd name="T8" fmla="*/ 184 w 220"/>
                <a:gd name="T9" fmla="*/ 131 h 342"/>
                <a:gd name="T10" fmla="*/ 160 w 220"/>
                <a:gd name="T11" fmla="*/ 142 h 342"/>
                <a:gd name="T12" fmla="*/ 149 w 220"/>
                <a:gd name="T13" fmla="*/ 158 h 342"/>
                <a:gd name="T14" fmla="*/ 143 w 220"/>
                <a:gd name="T15" fmla="*/ 181 h 342"/>
                <a:gd name="T16" fmla="*/ 156 w 220"/>
                <a:gd name="T17" fmla="*/ 202 h 342"/>
                <a:gd name="T18" fmla="*/ 181 w 220"/>
                <a:gd name="T19" fmla="*/ 222 h 342"/>
                <a:gd name="T20" fmla="*/ 192 w 220"/>
                <a:gd name="T21" fmla="*/ 244 h 342"/>
                <a:gd name="T22" fmla="*/ 179 w 220"/>
                <a:gd name="T23" fmla="*/ 251 h 342"/>
                <a:gd name="T24" fmla="*/ 151 w 220"/>
                <a:gd name="T25" fmla="*/ 251 h 342"/>
                <a:gd name="T26" fmla="*/ 143 w 220"/>
                <a:gd name="T27" fmla="*/ 263 h 342"/>
                <a:gd name="T28" fmla="*/ 143 w 220"/>
                <a:gd name="T29" fmla="*/ 272 h 342"/>
                <a:gd name="T30" fmla="*/ 161 w 220"/>
                <a:gd name="T31" fmla="*/ 284 h 342"/>
                <a:gd name="T32" fmla="*/ 166 w 220"/>
                <a:gd name="T33" fmla="*/ 301 h 342"/>
                <a:gd name="T34" fmla="*/ 173 w 220"/>
                <a:gd name="T35" fmla="*/ 310 h 342"/>
                <a:gd name="T36" fmla="*/ 180 w 220"/>
                <a:gd name="T37" fmla="*/ 317 h 342"/>
                <a:gd name="T38" fmla="*/ 191 w 220"/>
                <a:gd name="T39" fmla="*/ 325 h 342"/>
                <a:gd name="T40" fmla="*/ 184 w 220"/>
                <a:gd name="T41" fmla="*/ 342 h 342"/>
                <a:gd name="T42" fmla="*/ 161 w 220"/>
                <a:gd name="T43" fmla="*/ 340 h 342"/>
                <a:gd name="T44" fmla="*/ 146 w 220"/>
                <a:gd name="T45" fmla="*/ 341 h 342"/>
                <a:gd name="T46" fmla="*/ 133 w 220"/>
                <a:gd name="T47" fmla="*/ 331 h 342"/>
                <a:gd name="T48" fmla="*/ 113 w 220"/>
                <a:gd name="T49" fmla="*/ 319 h 342"/>
                <a:gd name="T50" fmla="*/ 100 w 220"/>
                <a:gd name="T51" fmla="*/ 306 h 342"/>
                <a:gd name="T52" fmla="*/ 87 w 220"/>
                <a:gd name="T53" fmla="*/ 297 h 342"/>
                <a:gd name="T54" fmla="*/ 67 w 220"/>
                <a:gd name="T55" fmla="*/ 300 h 342"/>
                <a:gd name="T56" fmla="*/ 50 w 220"/>
                <a:gd name="T57" fmla="*/ 284 h 342"/>
                <a:gd name="T58" fmla="*/ 29 w 220"/>
                <a:gd name="T59" fmla="*/ 280 h 342"/>
                <a:gd name="T60" fmla="*/ 30 w 220"/>
                <a:gd name="T61" fmla="*/ 261 h 342"/>
                <a:gd name="T62" fmla="*/ 27 w 220"/>
                <a:gd name="T63" fmla="*/ 248 h 342"/>
                <a:gd name="T64" fmla="*/ 33 w 220"/>
                <a:gd name="T65" fmla="*/ 229 h 342"/>
                <a:gd name="T66" fmla="*/ 20 w 220"/>
                <a:gd name="T67" fmla="*/ 222 h 342"/>
                <a:gd name="T68" fmla="*/ 16 w 220"/>
                <a:gd name="T69" fmla="*/ 207 h 342"/>
                <a:gd name="T70" fmla="*/ 26 w 220"/>
                <a:gd name="T71" fmla="*/ 196 h 342"/>
                <a:gd name="T72" fmla="*/ 10 w 220"/>
                <a:gd name="T73" fmla="*/ 182 h 342"/>
                <a:gd name="T74" fmla="*/ 7 w 220"/>
                <a:gd name="T75" fmla="*/ 170 h 342"/>
                <a:gd name="T76" fmla="*/ 11 w 220"/>
                <a:gd name="T77" fmla="*/ 154 h 342"/>
                <a:gd name="T78" fmla="*/ 17 w 220"/>
                <a:gd name="T79" fmla="*/ 140 h 342"/>
                <a:gd name="T80" fmla="*/ 22 w 220"/>
                <a:gd name="T81" fmla="*/ 123 h 342"/>
                <a:gd name="T82" fmla="*/ 32 w 220"/>
                <a:gd name="T83" fmla="*/ 107 h 342"/>
                <a:gd name="T84" fmla="*/ 29 w 220"/>
                <a:gd name="T85" fmla="*/ 91 h 342"/>
                <a:gd name="T86" fmla="*/ 30 w 220"/>
                <a:gd name="T87" fmla="*/ 74 h 342"/>
                <a:gd name="T88" fmla="*/ 37 w 220"/>
                <a:gd name="T89" fmla="*/ 55 h 342"/>
                <a:gd name="T90" fmla="*/ 58 w 220"/>
                <a:gd name="T91" fmla="*/ 51 h 342"/>
                <a:gd name="T92" fmla="*/ 86 w 220"/>
                <a:gd name="T93" fmla="*/ 55 h 342"/>
                <a:gd name="T94" fmla="*/ 117 w 220"/>
                <a:gd name="T95" fmla="*/ 47 h 342"/>
                <a:gd name="T96" fmla="*/ 115 w 220"/>
                <a:gd name="T97" fmla="*/ 20 h 342"/>
                <a:gd name="T98" fmla="*/ 125 w 220"/>
                <a:gd name="T99" fmla="*/ 9 h 342"/>
                <a:gd name="T100" fmla="*/ 137 w 220"/>
                <a:gd name="T101" fmla="*/ 0 h 342"/>
                <a:gd name="T102" fmla="*/ 155 w 220"/>
                <a:gd name="T103" fmla="*/ 4 h 342"/>
                <a:gd name="T104" fmla="*/ 183 w 220"/>
                <a:gd name="T105" fmla="*/ 9 h 342"/>
                <a:gd name="T106" fmla="*/ 208 w 220"/>
                <a:gd name="T107" fmla="*/ 8 h 342"/>
                <a:gd name="T108" fmla="*/ 215 w 220"/>
                <a:gd name="T109" fmla="*/ 14 h 342"/>
                <a:gd name="T110" fmla="*/ 203 w 220"/>
                <a:gd name="T111" fmla="*/ 38 h 342"/>
                <a:gd name="T112" fmla="*/ 206 w 220"/>
                <a:gd name="T113" fmla="*/ 59 h 342"/>
                <a:gd name="T114" fmla="*/ 210 w 220"/>
                <a:gd name="T115" fmla="*/ 7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0" h="342">
                  <a:moveTo>
                    <a:pt x="204" y="76"/>
                  </a:moveTo>
                  <a:lnTo>
                    <a:pt x="210" y="76"/>
                  </a:lnTo>
                  <a:lnTo>
                    <a:pt x="220" y="82"/>
                  </a:lnTo>
                  <a:lnTo>
                    <a:pt x="213" y="93"/>
                  </a:lnTo>
                  <a:lnTo>
                    <a:pt x="215" y="101"/>
                  </a:lnTo>
                  <a:lnTo>
                    <a:pt x="217" y="112"/>
                  </a:lnTo>
                  <a:lnTo>
                    <a:pt x="207" y="116"/>
                  </a:lnTo>
                  <a:lnTo>
                    <a:pt x="204" y="124"/>
                  </a:lnTo>
                  <a:lnTo>
                    <a:pt x="195" y="126"/>
                  </a:lnTo>
                  <a:lnTo>
                    <a:pt x="184" y="131"/>
                  </a:lnTo>
                  <a:lnTo>
                    <a:pt x="170" y="132"/>
                  </a:lnTo>
                  <a:lnTo>
                    <a:pt x="160" y="142"/>
                  </a:lnTo>
                  <a:lnTo>
                    <a:pt x="156" y="152"/>
                  </a:lnTo>
                  <a:lnTo>
                    <a:pt x="149" y="158"/>
                  </a:lnTo>
                  <a:lnTo>
                    <a:pt x="143" y="166"/>
                  </a:lnTo>
                  <a:lnTo>
                    <a:pt x="143" y="181"/>
                  </a:lnTo>
                  <a:lnTo>
                    <a:pt x="145" y="191"/>
                  </a:lnTo>
                  <a:lnTo>
                    <a:pt x="156" y="202"/>
                  </a:lnTo>
                  <a:lnTo>
                    <a:pt x="169" y="212"/>
                  </a:lnTo>
                  <a:lnTo>
                    <a:pt x="181" y="222"/>
                  </a:lnTo>
                  <a:lnTo>
                    <a:pt x="189" y="235"/>
                  </a:lnTo>
                  <a:lnTo>
                    <a:pt x="192" y="244"/>
                  </a:lnTo>
                  <a:lnTo>
                    <a:pt x="192" y="252"/>
                  </a:lnTo>
                  <a:lnTo>
                    <a:pt x="179" y="251"/>
                  </a:lnTo>
                  <a:lnTo>
                    <a:pt x="169" y="252"/>
                  </a:lnTo>
                  <a:lnTo>
                    <a:pt x="151" y="251"/>
                  </a:lnTo>
                  <a:lnTo>
                    <a:pt x="144" y="254"/>
                  </a:lnTo>
                  <a:lnTo>
                    <a:pt x="143" y="263"/>
                  </a:lnTo>
                  <a:lnTo>
                    <a:pt x="133" y="267"/>
                  </a:lnTo>
                  <a:lnTo>
                    <a:pt x="143" y="272"/>
                  </a:lnTo>
                  <a:lnTo>
                    <a:pt x="154" y="275"/>
                  </a:lnTo>
                  <a:lnTo>
                    <a:pt x="161" y="284"/>
                  </a:lnTo>
                  <a:lnTo>
                    <a:pt x="167" y="293"/>
                  </a:lnTo>
                  <a:lnTo>
                    <a:pt x="166" y="301"/>
                  </a:lnTo>
                  <a:lnTo>
                    <a:pt x="164" y="310"/>
                  </a:lnTo>
                  <a:lnTo>
                    <a:pt x="173" y="310"/>
                  </a:lnTo>
                  <a:lnTo>
                    <a:pt x="179" y="310"/>
                  </a:lnTo>
                  <a:lnTo>
                    <a:pt x="180" y="317"/>
                  </a:lnTo>
                  <a:lnTo>
                    <a:pt x="184" y="325"/>
                  </a:lnTo>
                  <a:lnTo>
                    <a:pt x="191" y="325"/>
                  </a:lnTo>
                  <a:lnTo>
                    <a:pt x="189" y="334"/>
                  </a:lnTo>
                  <a:lnTo>
                    <a:pt x="184" y="342"/>
                  </a:lnTo>
                  <a:lnTo>
                    <a:pt x="172" y="341"/>
                  </a:lnTo>
                  <a:lnTo>
                    <a:pt x="161" y="340"/>
                  </a:lnTo>
                  <a:lnTo>
                    <a:pt x="155" y="335"/>
                  </a:lnTo>
                  <a:lnTo>
                    <a:pt x="146" y="341"/>
                  </a:lnTo>
                  <a:lnTo>
                    <a:pt x="138" y="340"/>
                  </a:lnTo>
                  <a:lnTo>
                    <a:pt x="133" y="331"/>
                  </a:lnTo>
                  <a:lnTo>
                    <a:pt x="123" y="328"/>
                  </a:lnTo>
                  <a:lnTo>
                    <a:pt x="113" y="319"/>
                  </a:lnTo>
                  <a:lnTo>
                    <a:pt x="109" y="310"/>
                  </a:lnTo>
                  <a:lnTo>
                    <a:pt x="100" y="306"/>
                  </a:lnTo>
                  <a:lnTo>
                    <a:pt x="92" y="310"/>
                  </a:lnTo>
                  <a:lnTo>
                    <a:pt x="87" y="297"/>
                  </a:lnTo>
                  <a:lnTo>
                    <a:pt x="80" y="305"/>
                  </a:lnTo>
                  <a:lnTo>
                    <a:pt x="67" y="300"/>
                  </a:lnTo>
                  <a:lnTo>
                    <a:pt x="59" y="292"/>
                  </a:lnTo>
                  <a:lnTo>
                    <a:pt x="50" y="284"/>
                  </a:lnTo>
                  <a:lnTo>
                    <a:pt x="40" y="278"/>
                  </a:lnTo>
                  <a:lnTo>
                    <a:pt x="29" y="280"/>
                  </a:lnTo>
                  <a:lnTo>
                    <a:pt x="28" y="270"/>
                  </a:lnTo>
                  <a:lnTo>
                    <a:pt x="30" y="261"/>
                  </a:lnTo>
                  <a:lnTo>
                    <a:pt x="32" y="255"/>
                  </a:lnTo>
                  <a:lnTo>
                    <a:pt x="27" y="248"/>
                  </a:lnTo>
                  <a:lnTo>
                    <a:pt x="22" y="237"/>
                  </a:lnTo>
                  <a:lnTo>
                    <a:pt x="33" y="229"/>
                  </a:lnTo>
                  <a:lnTo>
                    <a:pt x="27" y="227"/>
                  </a:lnTo>
                  <a:lnTo>
                    <a:pt x="20" y="222"/>
                  </a:lnTo>
                  <a:lnTo>
                    <a:pt x="17" y="218"/>
                  </a:lnTo>
                  <a:lnTo>
                    <a:pt x="16" y="207"/>
                  </a:lnTo>
                  <a:lnTo>
                    <a:pt x="24" y="202"/>
                  </a:lnTo>
                  <a:lnTo>
                    <a:pt x="26" y="196"/>
                  </a:lnTo>
                  <a:lnTo>
                    <a:pt x="17" y="185"/>
                  </a:lnTo>
                  <a:lnTo>
                    <a:pt x="10" y="182"/>
                  </a:lnTo>
                  <a:lnTo>
                    <a:pt x="0" y="177"/>
                  </a:lnTo>
                  <a:lnTo>
                    <a:pt x="7" y="170"/>
                  </a:lnTo>
                  <a:lnTo>
                    <a:pt x="5" y="159"/>
                  </a:lnTo>
                  <a:lnTo>
                    <a:pt x="11" y="154"/>
                  </a:lnTo>
                  <a:lnTo>
                    <a:pt x="15" y="146"/>
                  </a:lnTo>
                  <a:lnTo>
                    <a:pt x="17" y="140"/>
                  </a:lnTo>
                  <a:lnTo>
                    <a:pt x="21" y="130"/>
                  </a:lnTo>
                  <a:lnTo>
                    <a:pt x="22" y="123"/>
                  </a:lnTo>
                  <a:lnTo>
                    <a:pt x="28" y="115"/>
                  </a:lnTo>
                  <a:lnTo>
                    <a:pt x="32" y="107"/>
                  </a:lnTo>
                  <a:lnTo>
                    <a:pt x="32" y="98"/>
                  </a:lnTo>
                  <a:lnTo>
                    <a:pt x="29" y="91"/>
                  </a:lnTo>
                  <a:lnTo>
                    <a:pt x="34" y="82"/>
                  </a:lnTo>
                  <a:lnTo>
                    <a:pt x="30" y="74"/>
                  </a:lnTo>
                  <a:lnTo>
                    <a:pt x="30" y="59"/>
                  </a:lnTo>
                  <a:lnTo>
                    <a:pt x="37" y="55"/>
                  </a:lnTo>
                  <a:lnTo>
                    <a:pt x="44" y="47"/>
                  </a:lnTo>
                  <a:lnTo>
                    <a:pt x="58" y="51"/>
                  </a:lnTo>
                  <a:lnTo>
                    <a:pt x="70" y="52"/>
                  </a:lnTo>
                  <a:lnTo>
                    <a:pt x="86" y="55"/>
                  </a:lnTo>
                  <a:lnTo>
                    <a:pt x="105" y="52"/>
                  </a:lnTo>
                  <a:lnTo>
                    <a:pt x="117" y="47"/>
                  </a:lnTo>
                  <a:lnTo>
                    <a:pt x="115" y="32"/>
                  </a:lnTo>
                  <a:lnTo>
                    <a:pt x="115" y="20"/>
                  </a:lnTo>
                  <a:lnTo>
                    <a:pt x="119" y="12"/>
                  </a:lnTo>
                  <a:lnTo>
                    <a:pt x="125" y="9"/>
                  </a:lnTo>
                  <a:lnTo>
                    <a:pt x="127" y="0"/>
                  </a:lnTo>
                  <a:lnTo>
                    <a:pt x="137" y="0"/>
                  </a:lnTo>
                  <a:lnTo>
                    <a:pt x="145" y="2"/>
                  </a:lnTo>
                  <a:lnTo>
                    <a:pt x="155" y="4"/>
                  </a:lnTo>
                  <a:lnTo>
                    <a:pt x="170" y="8"/>
                  </a:lnTo>
                  <a:lnTo>
                    <a:pt x="183" y="9"/>
                  </a:lnTo>
                  <a:lnTo>
                    <a:pt x="193" y="10"/>
                  </a:lnTo>
                  <a:lnTo>
                    <a:pt x="208" y="8"/>
                  </a:lnTo>
                  <a:lnTo>
                    <a:pt x="217" y="5"/>
                  </a:lnTo>
                  <a:lnTo>
                    <a:pt x="215" y="14"/>
                  </a:lnTo>
                  <a:lnTo>
                    <a:pt x="204" y="25"/>
                  </a:lnTo>
                  <a:lnTo>
                    <a:pt x="203" y="38"/>
                  </a:lnTo>
                  <a:lnTo>
                    <a:pt x="202" y="51"/>
                  </a:lnTo>
                  <a:lnTo>
                    <a:pt x="206" y="59"/>
                  </a:lnTo>
                  <a:lnTo>
                    <a:pt x="211" y="64"/>
                  </a:lnTo>
                  <a:lnTo>
                    <a:pt x="210" y="70"/>
                  </a:lnTo>
                  <a:lnTo>
                    <a:pt x="204" y="76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A09C2B95-21F5-4E85-8AD1-6C20DDD66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3" y="1079"/>
              <a:ext cx="210" cy="470"/>
            </a:xfrm>
            <a:custGeom>
              <a:avLst/>
              <a:gdLst>
                <a:gd name="T0" fmla="*/ 58 w 210"/>
                <a:gd name="T1" fmla="*/ 261 h 470"/>
                <a:gd name="T2" fmla="*/ 46 w 210"/>
                <a:gd name="T3" fmla="*/ 246 h 470"/>
                <a:gd name="T4" fmla="*/ 33 w 210"/>
                <a:gd name="T5" fmla="*/ 238 h 470"/>
                <a:gd name="T6" fmla="*/ 21 w 210"/>
                <a:gd name="T7" fmla="*/ 211 h 470"/>
                <a:gd name="T8" fmla="*/ 10 w 210"/>
                <a:gd name="T9" fmla="*/ 199 h 470"/>
                <a:gd name="T10" fmla="*/ 36 w 210"/>
                <a:gd name="T11" fmla="*/ 188 h 470"/>
                <a:gd name="T12" fmla="*/ 59 w 210"/>
                <a:gd name="T13" fmla="*/ 180 h 470"/>
                <a:gd name="T14" fmla="*/ 36 w 210"/>
                <a:gd name="T15" fmla="*/ 148 h 470"/>
                <a:gd name="T16" fmla="*/ 10 w 210"/>
                <a:gd name="T17" fmla="*/ 117 h 470"/>
                <a:gd name="T18" fmla="*/ 23 w 210"/>
                <a:gd name="T19" fmla="*/ 88 h 470"/>
                <a:gd name="T20" fmla="*/ 50 w 210"/>
                <a:gd name="T21" fmla="*/ 68 h 470"/>
                <a:gd name="T22" fmla="*/ 73 w 210"/>
                <a:gd name="T23" fmla="*/ 52 h 470"/>
                <a:gd name="T24" fmla="*/ 80 w 210"/>
                <a:gd name="T25" fmla="*/ 29 h 470"/>
                <a:gd name="T26" fmla="*/ 71 w 210"/>
                <a:gd name="T27" fmla="*/ 12 h 470"/>
                <a:gd name="T28" fmla="*/ 110 w 210"/>
                <a:gd name="T29" fmla="*/ 0 h 470"/>
                <a:gd name="T30" fmla="*/ 133 w 210"/>
                <a:gd name="T31" fmla="*/ 11 h 470"/>
                <a:gd name="T32" fmla="*/ 151 w 210"/>
                <a:gd name="T33" fmla="*/ 24 h 470"/>
                <a:gd name="T34" fmla="*/ 163 w 210"/>
                <a:gd name="T35" fmla="*/ 42 h 470"/>
                <a:gd name="T36" fmla="*/ 158 w 210"/>
                <a:gd name="T37" fmla="*/ 60 h 470"/>
                <a:gd name="T38" fmla="*/ 180 w 210"/>
                <a:gd name="T39" fmla="*/ 61 h 470"/>
                <a:gd name="T40" fmla="*/ 210 w 210"/>
                <a:gd name="T41" fmla="*/ 65 h 470"/>
                <a:gd name="T42" fmla="*/ 194 w 210"/>
                <a:gd name="T43" fmla="*/ 89 h 470"/>
                <a:gd name="T44" fmla="*/ 188 w 210"/>
                <a:gd name="T45" fmla="*/ 127 h 470"/>
                <a:gd name="T46" fmla="*/ 189 w 210"/>
                <a:gd name="T47" fmla="*/ 155 h 470"/>
                <a:gd name="T48" fmla="*/ 171 w 210"/>
                <a:gd name="T49" fmla="*/ 187 h 470"/>
                <a:gd name="T50" fmla="*/ 145 w 210"/>
                <a:gd name="T51" fmla="*/ 218 h 470"/>
                <a:gd name="T52" fmla="*/ 134 w 210"/>
                <a:gd name="T53" fmla="*/ 246 h 470"/>
                <a:gd name="T54" fmla="*/ 122 w 210"/>
                <a:gd name="T55" fmla="*/ 257 h 470"/>
                <a:gd name="T56" fmla="*/ 120 w 210"/>
                <a:gd name="T57" fmla="*/ 287 h 470"/>
                <a:gd name="T58" fmla="*/ 117 w 210"/>
                <a:gd name="T59" fmla="*/ 308 h 470"/>
                <a:gd name="T60" fmla="*/ 107 w 210"/>
                <a:gd name="T61" fmla="*/ 327 h 470"/>
                <a:gd name="T62" fmla="*/ 112 w 210"/>
                <a:gd name="T63" fmla="*/ 349 h 470"/>
                <a:gd name="T64" fmla="*/ 123 w 210"/>
                <a:gd name="T65" fmla="*/ 371 h 470"/>
                <a:gd name="T66" fmla="*/ 139 w 210"/>
                <a:gd name="T67" fmla="*/ 357 h 470"/>
                <a:gd name="T68" fmla="*/ 129 w 210"/>
                <a:gd name="T69" fmla="*/ 394 h 470"/>
                <a:gd name="T70" fmla="*/ 146 w 210"/>
                <a:gd name="T71" fmla="*/ 422 h 470"/>
                <a:gd name="T72" fmla="*/ 140 w 210"/>
                <a:gd name="T73" fmla="*/ 444 h 470"/>
                <a:gd name="T74" fmla="*/ 123 w 210"/>
                <a:gd name="T75" fmla="*/ 466 h 470"/>
                <a:gd name="T76" fmla="*/ 97 w 210"/>
                <a:gd name="T77" fmla="*/ 460 h 470"/>
                <a:gd name="T78" fmla="*/ 72 w 210"/>
                <a:gd name="T79" fmla="*/ 453 h 470"/>
                <a:gd name="T80" fmla="*/ 84 w 210"/>
                <a:gd name="T81" fmla="*/ 430 h 470"/>
                <a:gd name="T82" fmla="*/ 69 w 210"/>
                <a:gd name="T83" fmla="*/ 399 h 470"/>
                <a:gd name="T84" fmla="*/ 69 w 210"/>
                <a:gd name="T85" fmla="*/ 350 h 470"/>
                <a:gd name="T86" fmla="*/ 62 w 210"/>
                <a:gd name="T87" fmla="*/ 318 h 470"/>
                <a:gd name="T88" fmla="*/ 47 w 210"/>
                <a:gd name="T89" fmla="*/ 289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" h="470">
                  <a:moveTo>
                    <a:pt x="50" y="278"/>
                  </a:moveTo>
                  <a:lnTo>
                    <a:pt x="56" y="270"/>
                  </a:lnTo>
                  <a:lnTo>
                    <a:pt x="58" y="261"/>
                  </a:lnTo>
                  <a:lnTo>
                    <a:pt x="50" y="261"/>
                  </a:lnTo>
                  <a:lnTo>
                    <a:pt x="47" y="253"/>
                  </a:lnTo>
                  <a:lnTo>
                    <a:pt x="46" y="246"/>
                  </a:lnTo>
                  <a:lnTo>
                    <a:pt x="40" y="246"/>
                  </a:lnTo>
                  <a:lnTo>
                    <a:pt x="31" y="246"/>
                  </a:lnTo>
                  <a:lnTo>
                    <a:pt x="33" y="238"/>
                  </a:lnTo>
                  <a:lnTo>
                    <a:pt x="34" y="229"/>
                  </a:lnTo>
                  <a:lnTo>
                    <a:pt x="28" y="220"/>
                  </a:lnTo>
                  <a:lnTo>
                    <a:pt x="21" y="211"/>
                  </a:lnTo>
                  <a:lnTo>
                    <a:pt x="10" y="208"/>
                  </a:lnTo>
                  <a:lnTo>
                    <a:pt x="0" y="203"/>
                  </a:lnTo>
                  <a:lnTo>
                    <a:pt x="10" y="199"/>
                  </a:lnTo>
                  <a:lnTo>
                    <a:pt x="11" y="190"/>
                  </a:lnTo>
                  <a:lnTo>
                    <a:pt x="18" y="187"/>
                  </a:lnTo>
                  <a:lnTo>
                    <a:pt x="36" y="188"/>
                  </a:lnTo>
                  <a:lnTo>
                    <a:pt x="46" y="187"/>
                  </a:lnTo>
                  <a:lnTo>
                    <a:pt x="59" y="188"/>
                  </a:lnTo>
                  <a:lnTo>
                    <a:pt x="59" y="180"/>
                  </a:lnTo>
                  <a:lnTo>
                    <a:pt x="56" y="171"/>
                  </a:lnTo>
                  <a:lnTo>
                    <a:pt x="48" y="158"/>
                  </a:lnTo>
                  <a:lnTo>
                    <a:pt x="36" y="148"/>
                  </a:lnTo>
                  <a:lnTo>
                    <a:pt x="23" y="138"/>
                  </a:lnTo>
                  <a:lnTo>
                    <a:pt x="12" y="127"/>
                  </a:lnTo>
                  <a:lnTo>
                    <a:pt x="10" y="117"/>
                  </a:lnTo>
                  <a:lnTo>
                    <a:pt x="10" y="102"/>
                  </a:lnTo>
                  <a:lnTo>
                    <a:pt x="16" y="94"/>
                  </a:lnTo>
                  <a:lnTo>
                    <a:pt x="23" y="88"/>
                  </a:lnTo>
                  <a:lnTo>
                    <a:pt x="26" y="78"/>
                  </a:lnTo>
                  <a:lnTo>
                    <a:pt x="37" y="69"/>
                  </a:lnTo>
                  <a:lnTo>
                    <a:pt x="50" y="68"/>
                  </a:lnTo>
                  <a:lnTo>
                    <a:pt x="62" y="63"/>
                  </a:lnTo>
                  <a:lnTo>
                    <a:pt x="71" y="60"/>
                  </a:lnTo>
                  <a:lnTo>
                    <a:pt x="73" y="52"/>
                  </a:lnTo>
                  <a:lnTo>
                    <a:pt x="83" y="48"/>
                  </a:lnTo>
                  <a:lnTo>
                    <a:pt x="82" y="38"/>
                  </a:lnTo>
                  <a:lnTo>
                    <a:pt x="80" y="29"/>
                  </a:lnTo>
                  <a:lnTo>
                    <a:pt x="87" y="18"/>
                  </a:lnTo>
                  <a:lnTo>
                    <a:pt x="77" y="12"/>
                  </a:lnTo>
                  <a:lnTo>
                    <a:pt x="71" y="12"/>
                  </a:lnTo>
                  <a:lnTo>
                    <a:pt x="77" y="6"/>
                  </a:lnTo>
                  <a:lnTo>
                    <a:pt x="93" y="5"/>
                  </a:lnTo>
                  <a:lnTo>
                    <a:pt x="110" y="0"/>
                  </a:lnTo>
                  <a:lnTo>
                    <a:pt x="125" y="0"/>
                  </a:lnTo>
                  <a:lnTo>
                    <a:pt x="134" y="2"/>
                  </a:lnTo>
                  <a:lnTo>
                    <a:pt x="133" y="11"/>
                  </a:lnTo>
                  <a:lnTo>
                    <a:pt x="130" y="21"/>
                  </a:lnTo>
                  <a:lnTo>
                    <a:pt x="145" y="16"/>
                  </a:lnTo>
                  <a:lnTo>
                    <a:pt x="151" y="24"/>
                  </a:lnTo>
                  <a:lnTo>
                    <a:pt x="159" y="27"/>
                  </a:lnTo>
                  <a:lnTo>
                    <a:pt x="165" y="34"/>
                  </a:lnTo>
                  <a:lnTo>
                    <a:pt x="163" y="42"/>
                  </a:lnTo>
                  <a:lnTo>
                    <a:pt x="157" y="48"/>
                  </a:lnTo>
                  <a:lnTo>
                    <a:pt x="150" y="58"/>
                  </a:lnTo>
                  <a:lnTo>
                    <a:pt x="158" y="60"/>
                  </a:lnTo>
                  <a:lnTo>
                    <a:pt x="159" y="66"/>
                  </a:lnTo>
                  <a:lnTo>
                    <a:pt x="169" y="61"/>
                  </a:lnTo>
                  <a:lnTo>
                    <a:pt x="180" y="61"/>
                  </a:lnTo>
                  <a:lnTo>
                    <a:pt x="187" y="64"/>
                  </a:lnTo>
                  <a:lnTo>
                    <a:pt x="199" y="63"/>
                  </a:lnTo>
                  <a:lnTo>
                    <a:pt x="210" y="65"/>
                  </a:lnTo>
                  <a:lnTo>
                    <a:pt x="207" y="72"/>
                  </a:lnTo>
                  <a:lnTo>
                    <a:pt x="199" y="79"/>
                  </a:lnTo>
                  <a:lnTo>
                    <a:pt x="194" y="89"/>
                  </a:lnTo>
                  <a:lnTo>
                    <a:pt x="195" y="100"/>
                  </a:lnTo>
                  <a:lnTo>
                    <a:pt x="194" y="112"/>
                  </a:lnTo>
                  <a:lnTo>
                    <a:pt x="188" y="127"/>
                  </a:lnTo>
                  <a:lnTo>
                    <a:pt x="186" y="138"/>
                  </a:lnTo>
                  <a:lnTo>
                    <a:pt x="197" y="145"/>
                  </a:lnTo>
                  <a:lnTo>
                    <a:pt x="189" y="155"/>
                  </a:lnTo>
                  <a:lnTo>
                    <a:pt x="184" y="162"/>
                  </a:lnTo>
                  <a:lnTo>
                    <a:pt x="181" y="174"/>
                  </a:lnTo>
                  <a:lnTo>
                    <a:pt x="171" y="187"/>
                  </a:lnTo>
                  <a:lnTo>
                    <a:pt x="159" y="193"/>
                  </a:lnTo>
                  <a:lnTo>
                    <a:pt x="151" y="204"/>
                  </a:lnTo>
                  <a:lnTo>
                    <a:pt x="145" y="218"/>
                  </a:lnTo>
                  <a:lnTo>
                    <a:pt x="140" y="230"/>
                  </a:lnTo>
                  <a:lnTo>
                    <a:pt x="140" y="238"/>
                  </a:lnTo>
                  <a:lnTo>
                    <a:pt x="134" y="246"/>
                  </a:lnTo>
                  <a:lnTo>
                    <a:pt x="127" y="248"/>
                  </a:lnTo>
                  <a:lnTo>
                    <a:pt x="120" y="248"/>
                  </a:lnTo>
                  <a:lnTo>
                    <a:pt x="122" y="257"/>
                  </a:lnTo>
                  <a:lnTo>
                    <a:pt x="122" y="268"/>
                  </a:lnTo>
                  <a:lnTo>
                    <a:pt x="119" y="276"/>
                  </a:lnTo>
                  <a:lnTo>
                    <a:pt x="120" y="287"/>
                  </a:lnTo>
                  <a:lnTo>
                    <a:pt x="122" y="295"/>
                  </a:lnTo>
                  <a:lnTo>
                    <a:pt x="123" y="304"/>
                  </a:lnTo>
                  <a:lnTo>
                    <a:pt x="117" y="308"/>
                  </a:lnTo>
                  <a:lnTo>
                    <a:pt x="117" y="314"/>
                  </a:lnTo>
                  <a:lnTo>
                    <a:pt x="112" y="320"/>
                  </a:lnTo>
                  <a:lnTo>
                    <a:pt x="107" y="327"/>
                  </a:lnTo>
                  <a:lnTo>
                    <a:pt x="105" y="337"/>
                  </a:lnTo>
                  <a:lnTo>
                    <a:pt x="107" y="343"/>
                  </a:lnTo>
                  <a:lnTo>
                    <a:pt x="112" y="349"/>
                  </a:lnTo>
                  <a:lnTo>
                    <a:pt x="116" y="356"/>
                  </a:lnTo>
                  <a:lnTo>
                    <a:pt x="114" y="367"/>
                  </a:lnTo>
                  <a:lnTo>
                    <a:pt x="123" y="371"/>
                  </a:lnTo>
                  <a:lnTo>
                    <a:pt x="125" y="361"/>
                  </a:lnTo>
                  <a:lnTo>
                    <a:pt x="130" y="351"/>
                  </a:lnTo>
                  <a:lnTo>
                    <a:pt x="139" y="357"/>
                  </a:lnTo>
                  <a:lnTo>
                    <a:pt x="136" y="371"/>
                  </a:lnTo>
                  <a:lnTo>
                    <a:pt x="130" y="382"/>
                  </a:lnTo>
                  <a:lnTo>
                    <a:pt x="129" y="394"/>
                  </a:lnTo>
                  <a:lnTo>
                    <a:pt x="129" y="404"/>
                  </a:lnTo>
                  <a:lnTo>
                    <a:pt x="135" y="412"/>
                  </a:lnTo>
                  <a:lnTo>
                    <a:pt x="146" y="422"/>
                  </a:lnTo>
                  <a:lnTo>
                    <a:pt x="146" y="431"/>
                  </a:lnTo>
                  <a:lnTo>
                    <a:pt x="139" y="434"/>
                  </a:lnTo>
                  <a:lnTo>
                    <a:pt x="140" y="444"/>
                  </a:lnTo>
                  <a:lnTo>
                    <a:pt x="137" y="452"/>
                  </a:lnTo>
                  <a:lnTo>
                    <a:pt x="128" y="460"/>
                  </a:lnTo>
                  <a:lnTo>
                    <a:pt x="123" y="466"/>
                  </a:lnTo>
                  <a:lnTo>
                    <a:pt x="116" y="470"/>
                  </a:lnTo>
                  <a:lnTo>
                    <a:pt x="106" y="464"/>
                  </a:lnTo>
                  <a:lnTo>
                    <a:pt x="97" y="460"/>
                  </a:lnTo>
                  <a:lnTo>
                    <a:pt x="90" y="460"/>
                  </a:lnTo>
                  <a:lnTo>
                    <a:pt x="77" y="460"/>
                  </a:lnTo>
                  <a:lnTo>
                    <a:pt x="72" y="453"/>
                  </a:lnTo>
                  <a:lnTo>
                    <a:pt x="73" y="443"/>
                  </a:lnTo>
                  <a:lnTo>
                    <a:pt x="83" y="439"/>
                  </a:lnTo>
                  <a:lnTo>
                    <a:pt x="84" y="430"/>
                  </a:lnTo>
                  <a:lnTo>
                    <a:pt x="76" y="421"/>
                  </a:lnTo>
                  <a:lnTo>
                    <a:pt x="70" y="407"/>
                  </a:lnTo>
                  <a:lnTo>
                    <a:pt x="69" y="399"/>
                  </a:lnTo>
                  <a:lnTo>
                    <a:pt x="69" y="386"/>
                  </a:lnTo>
                  <a:lnTo>
                    <a:pt x="71" y="371"/>
                  </a:lnTo>
                  <a:lnTo>
                    <a:pt x="69" y="350"/>
                  </a:lnTo>
                  <a:lnTo>
                    <a:pt x="63" y="337"/>
                  </a:lnTo>
                  <a:lnTo>
                    <a:pt x="60" y="326"/>
                  </a:lnTo>
                  <a:lnTo>
                    <a:pt x="62" y="318"/>
                  </a:lnTo>
                  <a:lnTo>
                    <a:pt x="63" y="306"/>
                  </a:lnTo>
                  <a:lnTo>
                    <a:pt x="59" y="298"/>
                  </a:lnTo>
                  <a:lnTo>
                    <a:pt x="47" y="289"/>
                  </a:lnTo>
                  <a:lnTo>
                    <a:pt x="50" y="278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46AC6D6F-2DBC-4347-8D18-526DEBBB2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3" y="1079"/>
              <a:ext cx="210" cy="470"/>
            </a:xfrm>
            <a:custGeom>
              <a:avLst/>
              <a:gdLst>
                <a:gd name="T0" fmla="*/ 58 w 210"/>
                <a:gd name="T1" fmla="*/ 261 h 470"/>
                <a:gd name="T2" fmla="*/ 46 w 210"/>
                <a:gd name="T3" fmla="*/ 246 h 470"/>
                <a:gd name="T4" fmla="*/ 33 w 210"/>
                <a:gd name="T5" fmla="*/ 238 h 470"/>
                <a:gd name="T6" fmla="*/ 21 w 210"/>
                <a:gd name="T7" fmla="*/ 211 h 470"/>
                <a:gd name="T8" fmla="*/ 10 w 210"/>
                <a:gd name="T9" fmla="*/ 199 h 470"/>
                <a:gd name="T10" fmla="*/ 36 w 210"/>
                <a:gd name="T11" fmla="*/ 188 h 470"/>
                <a:gd name="T12" fmla="*/ 59 w 210"/>
                <a:gd name="T13" fmla="*/ 180 h 470"/>
                <a:gd name="T14" fmla="*/ 36 w 210"/>
                <a:gd name="T15" fmla="*/ 148 h 470"/>
                <a:gd name="T16" fmla="*/ 10 w 210"/>
                <a:gd name="T17" fmla="*/ 117 h 470"/>
                <a:gd name="T18" fmla="*/ 23 w 210"/>
                <a:gd name="T19" fmla="*/ 88 h 470"/>
                <a:gd name="T20" fmla="*/ 50 w 210"/>
                <a:gd name="T21" fmla="*/ 68 h 470"/>
                <a:gd name="T22" fmla="*/ 73 w 210"/>
                <a:gd name="T23" fmla="*/ 52 h 470"/>
                <a:gd name="T24" fmla="*/ 80 w 210"/>
                <a:gd name="T25" fmla="*/ 29 h 470"/>
                <a:gd name="T26" fmla="*/ 71 w 210"/>
                <a:gd name="T27" fmla="*/ 12 h 470"/>
                <a:gd name="T28" fmla="*/ 110 w 210"/>
                <a:gd name="T29" fmla="*/ 0 h 470"/>
                <a:gd name="T30" fmla="*/ 133 w 210"/>
                <a:gd name="T31" fmla="*/ 11 h 470"/>
                <a:gd name="T32" fmla="*/ 151 w 210"/>
                <a:gd name="T33" fmla="*/ 24 h 470"/>
                <a:gd name="T34" fmla="*/ 163 w 210"/>
                <a:gd name="T35" fmla="*/ 42 h 470"/>
                <a:gd name="T36" fmla="*/ 158 w 210"/>
                <a:gd name="T37" fmla="*/ 60 h 470"/>
                <a:gd name="T38" fmla="*/ 180 w 210"/>
                <a:gd name="T39" fmla="*/ 61 h 470"/>
                <a:gd name="T40" fmla="*/ 210 w 210"/>
                <a:gd name="T41" fmla="*/ 65 h 470"/>
                <a:gd name="T42" fmla="*/ 194 w 210"/>
                <a:gd name="T43" fmla="*/ 89 h 470"/>
                <a:gd name="T44" fmla="*/ 188 w 210"/>
                <a:gd name="T45" fmla="*/ 127 h 470"/>
                <a:gd name="T46" fmla="*/ 189 w 210"/>
                <a:gd name="T47" fmla="*/ 155 h 470"/>
                <a:gd name="T48" fmla="*/ 171 w 210"/>
                <a:gd name="T49" fmla="*/ 187 h 470"/>
                <a:gd name="T50" fmla="*/ 145 w 210"/>
                <a:gd name="T51" fmla="*/ 218 h 470"/>
                <a:gd name="T52" fmla="*/ 134 w 210"/>
                <a:gd name="T53" fmla="*/ 246 h 470"/>
                <a:gd name="T54" fmla="*/ 122 w 210"/>
                <a:gd name="T55" fmla="*/ 257 h 470"/>
                <a:gd name="T56" fmla="*/ 120 w 210"/>
                <a:gd name="T57" fmla="*/ 287 h 470"/>
                <a:gd name="T58" fmla="*/ 117 w 210"/>
                <a:gd name="T59" fmla="*/ 308 h 470"/>
                <a:gd name="T60" fmla="*/ 107 w 210"/>
                <a:gd name="T61" fmla="*/ 327 h 470"/>
                <a:gd name="T62" fmla="*/ 112 w 210"/>
                <a:gd name="T63" fmla="*/ 349 h 470"/>
                <a:gd name="T64" fmla="*/ 123 w 210"/>
                <a:gd name="T65" fmla="*/ 371 h 470"/>
                <a:gd name="T66" fmla="*/ 139 w 210"/>
                <a:gd name="T67" fmla="*/ 357 h 470"/>
                <a:gd name="T68" fmla="*/ 129 w 210"/>
                <a:gd name="T69" fmla="*/ 394 h 470"/>
                <a:gd name="T70" fmla="*/ 146 w 210"/>
                <a:gd name="T71" fmla="*/ 422 h 470"/>
                <a:gd name="T72" fmla="*/ 140 w 210"/>
                <a:gd name="T73" fmla="*/ 444 h 470"/>
                <a:gd name="T74" fmla="*/ 123 w 210"/>
                <a:gd name="T75" fmla="*/ 466 h 470"/>
                <a:gd name="T76" fmla="*/ 97 w 210"/>
                <a:gd name="T77" fmla="*/ 460 h 470"/>
                <a:gd name="T78" fmla="*/ 72 w 210"/>
                <a:gd name="T79" fmla="*/ 453 h 470"/>
                <a:gd name="T80" fmla="*/ 84 w 210"/>
                <a:gd name="T81" fmla="*/ 430 h 470"/>
                <a:gd name="T82" fmla="*/ 69 w 210"/>
                <a:gd name="T83" fmla="*/ 399 h 470"/>
                <a:gd name="T84" fmla="*/ 69 w 210"/>
                <a:gd name="T85" fmla="*/ 350 h 470"/>
                <a:gd name="T86" fmla="*/ 62 w 210"/>
                <a:gd name="T87" fmla="*/ 318 h 470"/>
                <a:gd name="T88" fmla="*/ 47 w 210"/>
                <a:gd name="T89" fmla="*/ 289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0" h="470">
                  <a:moveTo>
                    <a:pt x="50" y="278"/>
                  </a:moveTo>
                  <a:lnTo>
                    <a:pt x="56" y="270"/>
                  </a:lnTo>
                  <a:lnTo>
                    <a:pt x="58" y="261"/>
                  </a:lnTo>
                  <a:lnTo>
                    <a:pt x="50" y="261"/>
                  </a:lnTo>
                  <a:lnTo>
                    <a:pt x="47" y="253"/>
                  </a:lnTo>
                  <a:lnTo>
                    <a:pt x="46" y="246"/>
                  </a:lnTo>
                  <a:lnTo>
                    <a:pt x="40" y="246"/>
                  </a:lnTo>
                  <a:lnTo>
                    <a:pt x="31" y="246"/>
                  </a:lnTo>
                  <a:lnTo>
                    <a:pt x="33" y="238"/>
                  </a:lnTo>
                  <a:lnTo>
                    <a:pt x="34" y="229"/>
                  </a:lnTo>
                  <a:lnTo>
                    <a:pt x="28" y="220"/>
                  </a:lnTo>
                  <a:lnTo>
                    <a:pt x="21" y="211"/>
                  </a:lnTo>
                  <a:lnTo>
                    <a:pt x="10" y="208"/>
                  </a:lnTo>
                  <a:lnTo>
                    <a:pt x="0" y="203"/>
                  </a:lnTo>
                  <a:lnTo>
                    <a:pt x="10" y="199"/>
                  </a:lnTo>
                  <a:lnTo>
                    <a:pt x="11" y="190"/>
                  </a:lnTo>
                  <a:lnTo>
                    <a:pt x="18" y="187"/>
                  </a:lnTo>
                  <a:lnTo>
                    <a:pt x="36" y="188"/>
                  </a:lnTo>
                  <a:lnTo>
                    <a:pt x="46" y="187"/>
                  </a:lnTo>
                  <a:lnTo>
                    <a:pt x="59" y="188"/>
                  </a:lnTo>
                  <a:lnTo>
                    <a:pt x="59" y="180"/>
                  </a:lnTo>
                  <a:lnTo>
                    <a:pt x="56" y="171"/>
                  </a:lnTo>
                  <a:lnTo>
                    <a:pt x="48" y="158"/>
                  </a:lnTo>
                  <a:lnTo>
                    <a:pt x="36" y="148"/>
                  </a:lnTo>
                  <a:lnTo>
                    <a:pt x="23" y="138"/>
                  </a:lnTo>
                  <a:lnTo>
                    <a:pt x="12" y="127"/>
                  </a:lnTo>
                  <a:lnTo>
                    <a:pt x="10" y="117"/>
                  </a:lnTo>
                  <a:lnTo>
                    <a:pt x="10" y="102"/>
                  </a:lnTo>
                  <a:lnTo>
                    <a:pt x="16" y="94"/>
                  </a:lnTo>
                  <a:lnTo>
                    <a:pt x="23" y="88"/>
                  </a:lnTo>
                  <a:lnTo>
                    <a:pt x="26" y="78"/>
                  </a:lnTo>
                  <a:lnTo>
                    <a:pt x="37" y="69"/>
                  </a:lnTo>
                  <a:lnTo>
                    <a:pt x="50" y="68"/>
                  </a:lnTo>
                  <a:lnTo>
                    <a:pt x="62" y="63"/>
                  </a:lnTo>
                  <a:lnTo>
                    <a:pt x="71" y="60"/>
                  </a:lnTo>
                  <a:lnTo>
                    <a:pt x="73" y="52"/>
                  </a:lnTo>
                  <a:lnTo>
                    <a:pt x="83" y="48"/>
                  </a:lnTo>
                  <a:lnTo>
                    <a:pt x="82" y="38"/>
                  </a:lnTo>
                  <a:lnTo>
                    <a:pt x="80" y="29"/>
                  </a:lnTo>
                  <a:lnTo>
                    <a:pt x="87" y="18"/>
                  </a:lnTo>
                  <a:lnTo>
                    <a:pt x="77" y="12"/>
                  </a:lnTo>
                  <a:lnTo>
                    <a:pt x="71" y="12"/>
                  </a:lnTo>
                  <a:lnTo>
                    <a:pt x="77" y="6"/>
                  </a:lnTo>
                  <a:lnTo>
                    <a:pt x="93" y="5"/>
                  </a:lnTo>
                  <a:lnTo>
                    <a:pt x="110" y="0"/>
                  </a:lnTo>
                  <a:lnTo>
                    <a:pt x="125" y="0"/>
                  </a:lnTo>
                  <a:lnTo>
                    <a:pt x="134" y="2"/>
                  </a:lnTo>
                  <a:lnTo>
                    <a:pt x="133" y="11"/>
                  </a:lnTo>
                  <a:lnTo>
                    <a:pt x="130" y="21"/>
                  </a:lnTo>
                  <a:lnTo>
                    <a:pt x="145" y="16"/>
                  </a:lnTo>
                  <a:lnTo>
                    <a:pt x="151" y="24"/>
                  </a:lnTo>
                  <a:lnTo>
                    <a:pt x="159" y="27"/>
                  </a:lnTo>
                  <a:lnTo>
                    <a:pt x="165" y="34"/>
                  </a:lnTo>
                  <a:lnTo>
                    <a:pt x="163" y="42"/>
                  </a:lnTo>
                  <a:lnTo>
                    <a:pt x="157" y="48"/>
                  </a:lnTo>
                  <a:lnTo>
                    <a:pt x="150" y="58"/>
                  </a:lnTo>
                  <a:lnTo>
                    <a:pt x="158" y="60"/>
                  </a:lnTo>
                  <a:lnTo>
                    <a:pt x="159" y="66"/>
                  </a:lnTo>
                  <a:lnTo>
                    <a:pt x="169" y="61"/>
                  </a:lnTo>
                  <a:lnTo>
                    <a:pt x="180" y="61"/>
                  </a:lnTo>
                  <a:lnTo>
                    <a:pt x="187" y="64"/>
                  </a:lnTo>
                  <a:lnTo>
                    <a:pt x="199" y="63"/>
                  </a:lnTo>
                  <a:lnTo>
                    <a:pt x="210" y="65"/>
                  </a:lnTo>
                  <a:lnTo>
                    <a:pt x="207" y="72"/>
                  </a:lnTo>
                  <a:lnTo>
                    <a:pt x="199" y="79"/>
                  </a:lnTo>
                  <a:lnTo>
                    <a:pt x="194" y="89"/>
                  </a:lnTo>
                  <a:lnTo>
                    <a:pt x="195" y="100"/>
                  </a:lnTo>
                  <a:lnTo>
                    <a:pt x="194" y="112"/>
                  </a:lnTo>
                  <a:lnTo>
                    <a:pt x="188" y="127"/>
                  </a:lnTo>
                  <a:lnTo>
                    <a:pt x="186" y="138"/>
                  </a:lnTo>
                  <a:lnTo>
                    <a:pt x="197" y="145"/>
                  </a:lnTo>
                  <a:lnTo>
                    <a:pt x="189" y="155"/>
                  </a:lnTo>
                  <a:lnTo>
                    <a:pt x="184" y="162"/>
                  </a:lnTo>
                  <a:lnTo>
                    <a:pt x="181" y="174"/>
                  </a:lnTo>
                  <a:lnTo>
                    <a:pt x="171" y="187"/>
                  </a:lnTo>
                  <a:lnTo>
                    <a:pt x="159" y="193"/>
                  </a:lnTo>
                  <a:lnTo>
                    <a:pt x="151" y="204"/>
                  </a:lnTo>
                  <a:lnTo>
                    <a:pt x="145" y="218"/>
                  </a:lnTo>
                  <a:lnTo>
                    <a:pt x="140" y="230"/>
                  </a:lnTo>
                  <a:lnTo>
                    <a:pt x="140" y="238"/>
                  </a:lnTo>
                  <a:lnTo>
                    <a:pt x="134" y="246"/>
                  </a:lnTo>
                  <a:lnTo>
                    <a:pt x="127" y="248"/>
                  </a:lnTo>
                  <a:lnTo>
                    <a:pt x="120" y="248"/>
                  </a:lnTo>
                  <a:lnTo>
                    <a:pt x="122" y="257"/>
                  </a:lnTo>
                  <a:lnTo>
                    <a:pt x="122" y="268"/>
                  </a:lnTo>
                  <a:lnTo>
                    <a:pt x="119" y="276"/>
                  </a:lnTo>
                  <a:lnTo>
                    <a:pt x="120" y="287"/>
                  </a:lnTo>
                  <a:lnTo>
                    <a:pt x="122" y="295"/>
                  </a:lnTo>
                  <a:lnTo>
                    <a:pt x="123" y="304"/>
                  </a:lnTo>
                  <a:lnTo>
                    <a:pt x="117" y="308"/>
                  </a:lnTo>
                  <a:lnTo>
                    <a:pt x="117" y="314"/>
                  </a:lnTo>
                  <a:lnTo>
                    <a:pt x="112" y="320"/>
                  </a:lnTo>
                  <a:lnTo>
                    <a:pt x="107" y="327"/>
                  </a:lnTo>
                  <a:lnTo>
                    <a:pt x="105" y="337"/>
                  </a:lnTo>
                  <a:lnTo>
                    <a:pt x="107" y="343"/>
                  </a:lnTo>
                  <a:lnTo>
                    <a:pt x="112" y="349"/>
                  </a:lnTo>
                  <a:lnTo>
                    <a:pt x="116" y="356"/>
                  </a:lnTo>
                  <a:lnTo>
                    <a:pt x="114" y="367"/>
                  </a:lnTo>
                  <a:lnTo>
                    <a:pt x="123" y="371"/>
                  </a:lnTo>
                  <a:lnTo>
                    <a:pt x="125" y="361"/>
                  </a:lnTo>
                  <a:lnTo>
                    <a:pt x="130" y="351"/>
                  </a:lnTo>
                  <a:lnTo>
                    <a:pt x="139" y="357"/>
                  </a:lnTo>
                  <a:lnTo>
                    <a:pt x="136" y="371"/>
                  </a:lnTo>
                  <a:lnTo>
                    <a:pt x="130" y="382"/>
                  </a:lnTo>
                  <a:lnTo>
                    <a:pt x="129" y="394"/>
                  </a:lnTo>
                  <a:lnTo>
                    <a:pt x="129" y="404"/>
                  </a:lnTo>
                  <a:lnTo>
                    <a:pt x="135" y="412"/>
                  </a:lnTo>
                  <a:lnTo>
                    <a:pt x="146" y="422"/>
                  </a:lnTo>
                  <a:lnTo>
                    <a:pt x="146" y="431"/>
                  </a:lnTo>
                  <a:lnTo>
                    <a:pt x="139" y="434"/>
                  </a:lnTo>
                  <a:lnTo>
                    <a:pt x="140" y="444"/>
                  </a:lnTo>
                  <a:lnTo>
                    <a:pt x="137" y="452"/>
                  </a:lnTo>
                  <a:lnTo>
                    <a:pt x="128" y="460"/>
                  </a:lnTo>
                  <a:lnTo>
                    <a:pt x="123" y="466"/>
                  </a:lnTo>
                  <a:lnTo>
                    <a:pt x="116" y="470"/>
                  </a:lnTo>
                  <a:lnTo>
                    <a:pt x="106" y="464"/>
                  </a:lnTo>
                  <a:lnTo>
                    <a:pt x="97" y="460"/>
                  </a:lnTo>
                  <a:lnTo>
                    <a:pt x="90" y="460"/>
                  </a:lnTo>
                  <a:lnTo>
                    <a:pt x="77" y="460"/>
                  </a:lnTo>
                  <a:lnTo>
                    <a:pt x="72" y="453"/>
                  </a:lnTo>
                  <a:lnTo>
                    <a:pt x="73" y="443"/>
                  </a:lnTo>
                  <a:lnTo>
                    <a:pt x="83" y="439"/>
                  </a:lnTo>
                  <a:lnTo>
                    <a:pt x="84" y="430"/>
                  </a:lnTo>
                  <a:lnTo>
                    <a:pt x="76" y="421"/>
                  </a:lnTo>
                  <a:lnTo>
                    <a:pt x="70" y="407"/>
                  </a:lnTo>
                  <a:lnTo>
                    <a:pt x="69" y="399"/>
                  </a:lnTo>
                  <a:lnTo>
                    <a:pt x="69" y="386"/>
                  </a:lnTo>
                  <a:lnTo>
                    <a:pt x="71" y="371"/>
                  </a:lnTo>
                  <a:lnTo>
                    <a:pt x="69" y="350"/>
                  </a:lnTo>
                  <a:lnTo>
                    <a:pt x="63" y="337"/>
                  </a:lnTo>
                  <a:lnTo>
                    <a:pt x="60" y="326"/>
                  </a:lnTo>
                  <a:lnTo>
                    <a:pt x="62" y="318"/>
                  </a:lnTo>
                  <a:lnTo>
                    <a:pt x="63" y="306"/>
                  </a:lnTo>
                  <a:lnTo>
                    <a:pt x="59" y="298"/>
                  </a:lnTo>
                  <a:lnTo>
                    <a:pt x="47" y="289"/>
                  </a:lnTo>
                  <a:lnTo>
                    <a:pt x="50" y="278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DE43A3DD-6CFB-4CEB-979A-355186474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304"/>
              <a:ext cx="256" cy="357"/>
            </a:xfrm>
            <a:custGeom>
              <a:avLst/>
              <a:gdLst>
                <a:gd name="T0" fmla="*/ 9 w 256"/>
                <a:gd name="T1" fmla="*/ 247 h 357"/>
                <a:gd name="T2" fmla="*/ 28 w 256"/>
                <a:gd name="T3" fmla="*/ 260 h 357"/>
                <a:gd name="T4" fmla="*/ 46 w 256"/>
                <a:gd name="T5" fmla="*/ 261 h 357"/>
                <a:gd name="T6" fmla="*/ 57 w 256"/>
                <a:gd name="T7" fmla="*/ 253 h 357"/>
                <a:gd name="T8" fmla="*/ 76 w 256"/>
                <a:gd name="T9" fmla="*/ 247 h 357"/>
                <a:gd name="T10" fmla="*/ 94 w 256"/>
                <a:gd name="T11" fmla="*/ 245 h 357"/>
                <a:gd name="T12" fmla="*/ 100 w 256"/>
                <a:gd name="T13" fmla="*/ 258 h 357"/>
                <a:gd name="T14" fmla="*/ 114 w 256"/>
                <a:gd name="T15" fmla="*/ 267 h 357"/>
                <a:gd name="T16" fmla="*/ 118 w 256"/>
                <a:gd name="T17" fmla="*/ 278 h 357"/>
                <a:gd name="T18" fmla="*/ 124 w 256"/>
                <a:gd name="T19" fmla="*/ 295 h 357"/>
                <a:gd name="T20" fmla="*/ 129 w 256"/>
                <a:gd name="T21" fmla="*/ 314 h 357"/>
                <a:gd name="T22" fmla="*/ 130 w 256"/>
                <a:gd name="T23" fmla="*/ 331 h 357"/>
                <a:gd name="T24" fmla="*/ 149 w 256"/>
                <a:gd name="T25" fmla="*/ 340 h 357"/>
                <a:gd name="T26" fmla="*/ 171 w 256"/>
                <a:gd name="T27" fmla="*/ 339 h 357"/>
                <a:gd name="T28" fmla="*/ 177 w 256"/>
                <a:gd name="T29" fmla="*/ 353 h 357"/>
                <a:gd name="T30" fmla="*/ 192 w 256"/>
                <a:gd name="T31" fmla="*/ 354 h 357"/>
                <a:gd name="T32" fmla="*/ 207 w 256"/>
                <a:gd name="T33" fmla="*/ 356 h 357"/>
                <a:gd name="T34" fmla="*/ 220 w 256"/>
                <a:gd name="T35" fmla="*/ 334 h 357"/>
                <a:gd name="T36" fmla="*/ 233 w 256"/>
                <a:gd name="T37" fmla="*/ 330 h 357"/>
                <a:gd name="T38" fmla="*/ 249 w 256"/>
                <a:gd name="T39" fmla="*/ 337 h 357"/>
                <a:gd name="T40" fmla="*/ 242 w 256"/>
                <a:gd name="T41" fmla="*/ 304 h 357"/>
                <a:gd name="T42" fmla="*/ 237 w 256"/>
                <a:gd name="T43" fmla="*/ 288 h 357"/>
                <a:gd name="T44" fmla="*/ 222 w 256"/>
                <a:gd name="T45" fmla="*/ 279 h 357"/>
                <a:gd name="T46" fmla="*/ 195 w 256"/>
                <a:gd name="T47" fmla="*/ 278 h 357"/>
                <a:gd name="T48" fmla="*/ 183 w 256"/>
                <a:gd name="T49" fmla="*/ 263 h 357"/>
                <a:gd name="T50" fmla="*/ 182 w 256"/>
                <a:gd name="T51" fmla="*/ 246 h 357"/>
                <a:gd name="T52" fmla="*/ 182 w 256"/>
                <a:gd name="T53" fmla="*/ 227 h 357"/>
                <a:gd name="T54" fmla="*/ 183 w 256"/>
                <a:gd name="T55" fmla="*/ 208 h 357"/>
                <a:gd name="T56" fmla="*/ 191 w 256"/>
                <a:gd name="T57" fmla="*/ 190 h 357"/>
                <a:gd name="T58" fmla="*/ 194 w 256"/>
                <a:gd name="T59" fmla="*/ 174 h 357"/>
                <a:gd name="T60" fmla="*/ 201 w 256"/>
                <a:gd name="T61" fmla="*/ 158 h 357"/>
                <a:gd name="T62" fmla="*/ 195 w 256"/>
                <a:gd name="T63" fmla="*/ 137 h 357"/>
                <a:gd name="T64" fmla="*/ 136 w 256"/>
                <a:gd name="T65" fmla="*/ 55 h 357"/>
                <a:gd name="T66" fmla="*/ 123 w 256"/>
                <a:gd name="T67" fmla="*/ 26 h 357"/>
                <a:gd name="T68" fmla="*/ 107 w 256"/>
                <a:gd name="T69" fmla="*/ 28 h 357"/>
                <a:gd name="T70" fmla="*/ 94 w 256"/>
                <a:gd name="T71" fmla="*/ 22 h 357"/>
                <a:gd name="T72" fmla="*/ 95 w 256"/>
                <a:gd name="T73" fmla="*/ 11 h 357"/>
                <a:gd name="T74" fmla="*/ 79 w 256"/>
                <a:gd name="T75" fmla="*/ 8 h 357"/>
                <a:gd name="T76" fmla="*/ 58 w 256"/>
                <a:gd name="T77" fmla="*/ 19 h 357"/>
                <a:gd name="T78" fmla="*/ 29 w 256"/>
                <a:gd name="T79" fmla="*/ 22 h 357"/>
                <a:gd name="T80" fmla="*/ 25 w 256"/>
                <a:gd name="T81" fmla="*/ 31 h 357"/>
                <a:gd name="T82" fmla="*/ 22 w 256"/>
                <a:gd name="T83" fmla="*/ 50 h 357"/>
                <a:gd name="T84" fmla="*/ 25 w 256"/>
                <a:gd name="T85" fmla="*/ 69 h 357"/>
                <a:gd name="T86" fmla="*/ 20 w 256"/>
                <a:gd name="T87" fmla="*/ 82 h 357"/>
                <a:gd name="T88" fmla="*/ 15 w 256"/>
                <a:gd name="T89" fmla="*/ 94 h 357"/>
                <a:gd name="T90" fmla="*/ 8 w 256"/>
                <a:gd name="T91" fmla="*/ 111 h 357"/>
                <a:gd name="T92" fmla="*/ 15 w 256"/>
                <a:gd name="T93" fmla="*/ 123 h 357"/>
                <a:gd name="T94" fmla="*/ 17 w 256"/>
                <a:gd name="T95" fmla="*/ 141 h 357"/>
                <a:gd name="T96" fmla="*/ 28 w 256"/>
                <a:gd name="T97" fmla="*/ 135 h 357"/>
                <a:gd name="T98" fmla="*/ 41 w 256"/>
                <a:gd name="T99" fmla="*/ 131 h 357"/>
                <a:gd name="T100" fmla="*/ 33 w 256"/>
                <a:gd name="T101" fmla="*/ 156 h 357"/>
                <a:gd name="T102" fmla="*/ 32 w 256"/>
                <a:gd name="T103" fmla="*/ 178 h 357"/>
                <a:gd name="T104" fmla="*/ 49 w 256"/>
                <a:gd name="T105" fmla="*/ 196 h 357"/>
                <a:gd name="T106" fmla="*/ 41 w 256"/>
                <a:gd name="T107" fmla="*/ 208 h 357"/>
                <a:gd name="T108" fmla="*/ 40 w 256"/>
                <a:gd name="T109" fmla="*/ 226 h 357"/>
                <a:gd name="T110" fmla="*/ 26 w 256"/>
                <a:gd name="T111" fmla="*/ 240 h 357"/>
                <a:gd name="T112" fmla="*/ 9 w 256"/>
                <a:gd name="T113" fmla="*/ 238 h 357"/>
                <a:gd name="T114" fmla="*/ 3 w 256"/>
                <a:gd name="T115" fmla="*/ 241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6" h="357">
                  <a:moveTo>
                    <a:pt x="3" y="241"/>
                  </a:moveTo>
                  <a:lnTo>
                    <a:pt x="9" y="247"/>
                  </a:lnTo>
                  <a:lnTo>
                    <a:pt x="18" y="256"/>
                  </a:lnTo>
                  <a:lnTo>
                    <a:pt x="28" y="260"/>
                  </a:lnTo>
                  <a:lnTo>
                    <a:pt x="36" y="258"/>
                  </a:lnTo>
                  <a:lnTo>
                    <a:pt x="46" y="261"/>
                  </a:lnTo>
                  <a:lnTo>
                    <a:pt x="55" y="260"/>
                  </a:lnTo>
                  <a:lnTo>
                    <a:pt x="57" y="253"/>
                  </a:lnTo>
                  <a:lnTo>
                    <a:pt x="62" y="245"/>
                  </a:lnTo>
                  <a:lnTo>
                    <a:pt x="76" y="247"/>
                  </a:lnTo>
                  <a:lnTo>
                    <a:pt x="86" y="247"/>
                  </a:lnTo>
                  <a:lnTo>
                    <a:pt x="94" y="245"/>
                  </a:lnTo>
                  <a:lnTo>
                    <a:pt x="100" y="253"/>
                  </a:lnTo>
                  <a:lnTo>
                    <a:pt x="100" y="258"/>
                  </a:lnTo>
                  <a:lnTo>
                    <a:pt x="107" y="261"/>
                  </a:lnTo>
                  <a:lnTo>
                    <a:pt x="114" y="267"/>
                  </a:lnTo>
                  <a:lnTo>
                    <a:pt x="116" y="273"/>
                  </a:lnTo>
                  <a:lnTo>
                    <a:pt x="118" y="278"/>
                  </a:lnTo>
                  <a:lnTo>
                    <a:pt x="125" y="286"/>
                  </a:lnTo>
                  <a:lnTo>
                    <a:pt x="124" y="295"/>
                  </a:lnTo>
                  <a:lnTo>
                    <a:pt x="122" y="304"/>
                  </a:lnTo>
                  <a:lnTo>
                    <a:pt x="129" y="314"/>
                  </a:lnTo>
                  <a:lnTo>
                    <a:pt x="124" y="325"/>
                  </a:lnTo>
                  <a:lnTo>
                    <a:pt x="130" y="331"/>
                  </a:lnTo>
                  <a:lnTo>
                    <a:pt x="137" y="338"/>
                  </a:lnTo>
                  <a:lnTo>
                    <a:pt x="149" y="340"/>
                  </a:lnTo>
                  <a:lnTo>
                    <a:pt x="161" y="340"/>
                  </a:lnTo>
                  <a:lnTo>
                    <a:pt x="171" y="339"/>
                  </a:lnTo>
                  <a:lnTo>
                    <a:pt x="172" y="346"/>
                  </a:lnTo>
                  <a:lnTo>
                    <a:pt x="177" y="353"/>
                  </a:lnTo>
                  <a:lnTo>
                    <a:pt x="184" y="353"/>
                  </a:lnTo>
                  <a:lnTo>
                    <a:pt x="192" y="354"/>
                  </a:lnTo>
                  <a:lnTo>
                    <a:pt x="199" y="357"/>
                  </a:lnTo>
                  <a:lnTo>
                    <a:pt x="207" y="356"/>
                  </a:lnTo>
                  <a:lnTo>
                    <a:pt x="214" y="344"/>
                  </a:lnTo>
                  <a:lnTo>
                    <a:pt x="220" y="334"/>
                  </a:lnTo>
                  <a:lnTo>
                    <a:pt x="230" y="339"/>
                  </a:lnTo>
                  <a:lnTo>
                    <a:pt x="233" y="330"/>
                  </a:lnTo>
                  <a:lnTo>
                    <a:pt x="242" y="332"/>
                  </a:lnTo>
                  <a:lnTo>
                    <a:pt x="249" y="337"/>
                  </a:lnTo>
                  <a:lnTo>
                    <a:pt x="256" y="332"/>
                  </a:lnTo>
                  <a:lnTo>
                    <a:pt x="242" y="304"/>
                  </a:lnTo>
                  <a:lnTo>
                    <a:pt x="232" y="295"/>
                  </a:lnTo>
                  <a:lnTo>
                    <a:pt x="237" y="288"/>
                  </a:lnTo>
                  <a:lnTo>
                    <a:pt x="232" y="279"/>
                  </a:lnTo>
                  <a:lnTo>
                    <a:pt x="222" y="279"/>
                  </a:lnTo>
                  <a:lnTo>
                    <a:pt x="207" y="279"/>
                  </a:lnTo>
                  <a:lnTo>
                    <a:pt x="195" y="278"/>
                  </a:lnTo>
                  <a:lnTo>
                    <a:pt x="197" y="270"/>
                  </a:lnTo>
                  <a:lnTo>
                    <a:pt x="183" y="263"/>
                  </a:lnTo>
                  <a:lnTo>
                    <a:pt x="188" y="256"/>
                  </a:lnTo>
                  <a:lnTo>
                    <a:pt x="182" y="246"/>
                  </a:lnTo>
                  <a:lnTo>
                    <a:pt x="185" y="238"/>
                  </a:lnTo>
                  <a:lnTo>
                    <a:pt x="182" y="227"/>
                  </a:lnTo>
                  <a:lnTo>
                    <a:pt x="186" y="216"/>
                  </a:lnTo>
                  <a:lnTo>
                    <a:pt x="183" y="208"/>
                  </a:lnTo>
                  <a:lnTo>
                    <a:pt x="184" y="195"/>
                  </a:lnTo>
                  <a:lnTo>
                    <a:pt x="191" y="190"/>
                  </a:lnTo>
                  <a:lnTo>
                    <a:pt x="199" y="180"/>
                  </a:lnTo>
                  <a:lnTo>
                    <a:pt x="194" y="174"/>
                  </a:lnTo>
                  <a:lnTo>
                    <a:pt x="199" y="166"/>
                  </a:lnTo>
                  <a:lnTo>
                    <a:pt x="201" y="158"/>
                  </a:lnTo>
                  <a:lnTo>
                    <a:pt x="199" y="147"/>
                  </a:lnTo>
                  <a:lnTo>
                    <a:pt x="195" y="137"/>
                  </a:lnTo>
                  <a:lnTo>
                    <a:pt x="149" y="99"/>
                  </a:lnTo>
                  <a:lnTo>
                    <a:pt x="136" y="55"/>
                  </a:lnTo>
                  <a:lnTo>
                    <a:pt x="132" y="31"/>
                  </a:lnTo>
                  <a:lnTo>
                    <a:pt x="123" y="26"/>
                  </a:lnTo>
                  <a:lnTo>
                    <a:pt x="113" y="22"/>
                  </a:lnTo>
                  <a:lnTo>
                    <a:pt x="107" y="28"/>
                  </a:lnTo>
                  <a:lnTo>
                    <a:pt x="99" y="31"/>
                  </a:lnTo>
                  <a:lnTo>
                    <a:pt x="94" y="22"/>
                  </a:lnTo>
                  <a:lnTo>
                    <a:pt x="100" y="18"/>
                  </a:lnTo>
                  <a:lnTo>
                    <a:pt x="95" y="11"/>
                  </a:lnTo>
                  <a:lnTo>
                    <a:pt x="88" y="0"/>
                  </a:lnTo>
                  <a:lnTo>
                    <a:pt x="79" y="8"/>
                  </a:lnTo>
                  <a:lnTo>
                    <a:pt x="70" y="14"/>
                  </a:lnTo>
                  <a:lnTo>
                    <a:pt x="58" y="19"/>
                  </a:lnTo>
                  <a:lnTo>
                    <a:pt x="45" y="24"/>
                  </a:lnTo>
                  <a:lnTo>
                    <a:pt x="29" y="22"/>
                  </a:lnTo>
                  <a:lnTo>
                    <a:pt x="23" y="22"/>
                  </a:lnTo>
                  <a:lnTo>
                    <a:pt x="25" y="31"/>
                  </a:lnTo>
                  <a:lnTo>
                    <a:pt x="25" y="43"/>
                  </a:lnTo>
                  <a:lnTo>
                    <a:pt x="22" y="50"/>
                  </a:lnTo>
                  <a:lnTo>
                    <a:pt x="23" y="61"/>
                  </a:lnTo>
                  <a:lnTo>
                    <a:pt x="25" y="69"/>
                  </a:lnTo>
                  <a:lnTo>
                    <a:pt x="26" y="79"/>
                  </a:lnTo>
                  <a:lnTo>
                    <a:pt x="20" y="82"/>
                  </a:lnTo>
                  <a:lnTo>
                    <a:pt x="20" y="88"/>
                  </a:lnTo>
                  <a:lnTo>
                    <a:pt x="15" y="94"/>
                  </a:lnTo>
                  <a:lnTo>
                    <a:pt x="10" y="101"/>
                  </a:lnTo>
                  <a:lnTo>
                    <a:pt x="8" y="111"/>
                  </a:lnTo>
                  <a:lnTo>
                    <a:pt x="10" y="117"/>
                  </a:lnTo>
                  <a:lnTo>
                    <a:pt x="15" y="123"/>
                  </a:lnTo>
                  <a:lnTo>
                    <a:pt x="18" y="130"/>
                  </a:lnTo>
                  <a:lnTo>
                    <a:pt x="17" y="141"/>
                  </a:lnTo>
                  <a:lnTo>
                    <a:pt x="26" y="144"/>
                  </a:lnTo>
                  <a:lnTo>
                    <a:pt x="28" y="135"/>
                  </a:lnTo>
                  <a:lnTo>
                    <a:pt x="33" y="125"/>
                  </a:lnTo>
                  <a:lnTo>
                    <a:pt x="41" y="131"/>
                  </a:lnTo>
                  <a:lnTo>
                    <a:pt x="39" y="146"/>
                  </a:lnTo>
                  <a:lnTo>
                    <a:pt x="33" y="156"/>
                  </a:lnTo>
                  <a:lnTo>
                    <a:pt x="32" y="168"/>
                  </a:lnTo>
                  <a:lnTo>
                    <a:pt x="32" y="178"/>
                  </a:lnTo>
                  <a:lnTo>
                    <a:pt x="38" y="186"/>
                  </a:lnTo>
                  <a:lnTo>
                    <a:pt x="49" y="196"/>
                  </a:lnTo>
                  <a:lnTo>
                    <a:pt x="49" y="205"/>
                  </a:lnTo>
                  <a:lnTo>
                    <a:pt x="41" y="208"/>
                  </a:lnTo>
                  <a:lnTo>
                    <a:pt x="42" y="218"/>
                  </a:lnTo>
                  <a:lnTo>
                    <a:pt x="40" y="226"/>
                  </a:lnTo>
                  <a:lnTo>
                    <a:pt x="31" y="234"/>
                  </a:lnTo>
                  <a:lnTo>
                    <a:pt x="26" y="240"/>
                  </a:lnTo>
                  <a:lnTo>
                    <a:pt x="18" y="243"/>
                  </a:lnTo>
                  <a:lnTo>
                    <a:pt x="9" y="238"/>
                  </a:lnTo>
                  <a:lnTo>
                    <a:pt x="0" y="234"/>
                  </a:lnTo>
                  <a:lnTo>
                    <a:pt x="3" y="241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543A53D0-D5A7-45AF-805F-88E27646C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304"/>
              <a:ext cx="256" cy="357"/>
            </a:xfrm>
            <a:custGeom>
              <a:avLst/>
              <a:gdLst>
                <a:gd name="T0" fmla="*/ 9 w 256"/>
                <a:gd name="T1" fmla="*/ 247 h 357"/>
                <a:gd name="T2" fmla="*/ 28 w 256"/>
                <a:gd name="T3" fmla="*/ 260 h 357"/>
                <a:gd name="T4" fmla="*/ 46 w 256"/>
                <a:gd name="T5" fmla="*/ 261 h 357"/>
                <a:gd name="T6" fmla="*/ 57 w 256"/>
                <a:gd name="T7" fmla="*/ 253 h 357"/>
                <a:gd name="T8" fmla="*/ 76 w 256"/>
                <a:gd name="T9" fmla="*/ 247 h 357"/>
                <a:gd name="T10" fmla="*/ 94 w 256"/>
                <a:gd name="T11" fmla="*/ 245 h 357"/>
                <a:gd name="T12" fmla="*/ 100 w 256"/>
                <a:gd name="T13" fmla="*/ 258 h 357"/>
                <a:gd name="T14" fmla="*/ 114 w 256"/>
                <a:gd name="T15" fmla="*/ 267 h 357"/>
                <a:gd name="T16" fmla="*/ 118 w 256"/>
                <a:gd name="T17" fmla="*/ 278 h 357"/>
                <a:gd name="T18" fmla="*/ 124 w 256"/>
                <a:gd name="T19" fmla="*/ 295 h 357"/>
                <a:gd name="T20" fmla="*/ 129 w 256"/>
                <a:gd name="T21" fmla="*/ 314 h 357"/>
                <a:gd name="T22" fmla="*/ 130 w 256"/>
                <a:gd name="T23" fmla="*/ 331 h 357"/>
                <a:gd name="T24" fmla="*/ 149 w 256"/>
                <a:gd name="T25" fmla="*/ 340 h 357"/>
                <a:gd name="T26" fmla="*/ 171 w 256"/>
                <a:gd name="T27" fmla="*/ 339 h 357"/>
                <a:gd name="T28" fmla="*/ 177 w 256"/>
                <a:gd name="T29" fmla="*/ 353 h 357"/>
                <a:gd name="T30" fmla="*/ 192 w 256"/>
                <a:gd name="T31" fmla="*/ 354 h 357"/>
                <a:gd name="T32" fmla="*/ 207 w 256"/>
                <a:gd name="T33" fmla="*/ 356 h 357"/>
                <a:gd name="T34" fmla="*/ 220 w 256"/>
                <a:gd name="T35" fmla="*/ 334 h 357"/>
                <a:gd name="T36" fmla="*/ 233 w 256"/>
                <a:gd name="T37" fmla="*/ 330 h 357"/>
                <a:gd name="T38" fmla="*/ 249 w 256"/>
                <a:gd name="T39" fmla="*/ 337 h 357"/>
                <a:gd name="T40" fmla="*/ 242 w 256"/>
                <a:gd name="T41" fmla="*/ 304 h 357"/>
                <a:gd name="T42" fmla="*/ 237 w 256"/>
                <a:gd name="T43" fmla="*/ 288 h 357"/>
                <a:gd name="T44" fmla="*/ 222 w 256"/>
                <a:gd name="T45" fmla="*/ 279 h 357"/>
                <a:gd name="T46" fmla="*/ 195 w 256"/>
                <a:gd name="T47" fmla="*/ 278 h 357"/>
                <a:gd name="T48" fmla="*/ 183 w 256"/>
                <a:gd name="T49" fmla="*/ 263 h 357"/>
                <a:gd name="T50" fmla="*/ 182 w 256"/>
                <a:gd name="T51" fmla="*/ 246 h 357"/>
                <a:gd name="T52" fmla="*/ 182 w 256"/>
                <a:gd name="T53" fmla="*/ 227 h 357"/>
                <a:gd name="T54" fmla="*/ 183 w 256"/>
                <a:gd name="T55" fmla="*/ 208 h 357"/>
                <a:gd name="T56" fmla="*/ 191 w 256"/>
                <a:gd name="T57" fmla="*/ 190 h 357"/>
                <a:gd name="T58" fmla="*/ 194 w 256"/>
                <a:gd name="T59" fmla="*/ 174 h 357"/>
                <a:gd name="T60" fmla="*/ 201 w 256"/>
                <a:gd name="T61" fmla="*/ 158 h 357"/>
                <a:gd name="T62" fmla="*/ 195 w 256"/>
                <a:gd name="T63" fmla="*/ 137 h 357"/>
                <a:gd name="T64" fmla="*/ 136 w 256"/>
                <a:gd name="T65" fmla="*/ 55 h 357"/>
                <a:gd name="T66" fmla="*/ 123 w 256"/>
                <a:gd name="T67" fmla="*/ 26 h 357"/>
                <a:gd name="T68" fmla="*/ 107 w 256"/>
                <a:gd name="T69" fmla="*/ 28 h 357"/>
                <a:gd name="T70" fmla="*/ 94 w 256"/>
                <a:gd name="T71" fmla="*/ 22 h 357"/>
                <a:gd name="T72" fmla="*/ 95 w 256"/>
                <a:gd name="T73" fmla="*/ 11 h 357"/>
                <a:gd name="T74" fmla="*/ 79 w 256"/>
                <a:gd name="T75" fmla="*/ 8 h 357"/>
                <a:gd name="T76" fmla="*/ 58 w 256"/>
                <a:gd name="T77" fmla="*/ 19 h 357"/>
                <a:gd name="T78" fmla="*/ 29 w 256"/>
                <a:gd name="T79" fmla="*/ 22 h 357"/>
                <a:gd name="T80" fmla="*/ 25 w 256"/>
                <a:gd name="T81" fmla="*/ 31 h 357"/>
                <a:gd name="T82" fmla="*/ 22 w 256"/>
                <a:gd name="T83" fmla="*/ 50 h 357"/>
                <a:gd name="T84" fmla="*/ 25 w 256"/>
                <a:gd name="T85" fmla="*/ 69 h 357"/>
                <a:gd name="T86" fmla="*/ 20 w 256"/>
                <a:gd name="T87" fmla="*/ 82 h 357"/>
                <a:gd name="T88" fmla="*/ 15 w 256"/>
                <a:gd name="T89" fmla="*/ 94 h 357"/>
                <a:gd name="T90" fmla="*/ 8 w 256"/>
                <a:gd name="T91" fmla="*/ 111 h 357"/>
                <a:gd name="T92" fmla="*/ 15 w 256"/>
                <a:gd name="T93" fmla="*/ 123 h 357"/>
                <a:gd name="T94" fmla="*/ 17 w 256"/>
                <a:gd name="T95" fmla="*/ 141 h 357"/>
                <a:gd name="T96" fmla="*/ 28 w 256"/>
                <a:gd name="T97" fmla="*/ 135 h 357"/>
                <a:gd name="T98" fmla="*/ 41 w 256"/>
                <a:gd name="T99" fmla="*/ 131 h 357"/>
                <a:gd name="T100" fmla="*/ 33 w 256"/>
                <a:gd name="T101" fmla="*/ 156 h 357"/>
                <a:gd name="T102" fmla="*/ 32 w 256"/>
                <a:gd name="T103" fmla="*/ 178 h 357"/>
                <a:gd name="T104" fmla="*/ 49 w 256"/>
                <a:gd name="T105" fmla="*/ 196 h 357"/>
                <a:gd name="T106" fmla="*/ 41 w 256"/>
                <a:gd name="T107" fmla="*/ 208 h 357"/>
                <a:gd name="T108" fmla="*/ 40 w 256"/>
                <a:gd name="T109" fmla="*/ 226 h 357"/>
                <a:gd name="T110" fmla="*/ 26 w 256"/>
                <a:gd name="T111" fmla="*/ 240 h 357"/>
                <a:gd name="T112" fmla="*/ 9 w 256"/>
                <a:gd name="T113" fmla="*/ 238 h 357"/>
                <a:gd name="T114" fmla="*/ 3 w 256"/>
                <a:gd name="T115" fmla="*/ 241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6" h="357">
                  <a:moveTo>
                    <a:pt x="3" y="241"/>
                  </a:moveTo>
                  <a:lnTo>
                    <a:pt x="9" y="247"/>
                  </a:lnTo>
                  <a:lnTo>
                    <a:pt x="18" y="256"/>
                  </a:lnTo>
                  <a:lnTo>
                    <a:pt x="28" y="260"/>
                  </a:lnTo>
                  <a:lnTo>
                    <a:pt x="36" y="258"/>
                  </a:lnTo>
                  <a:lnTo>
                    <a:pt x="46" y="261"/>
                  </a:lnTo>
                  <a:lnTo>
                    <a:pt x="55" y="260"/>
                  </a:lnTo>
                  <a:lnTo>
                    <a:pt x="57" y="253"/>
                  </a:lnTo>
                  <a:lnTo>
                    <a:pt x="62" y="245"/>
                  </a:lnTo>
                  <a:lnTo>
                    <a:pt x="76" y="247"/>
                  </a:lnTo>
                  <a:lnTo>
                    <a:pt x="86" y="247"/>
                  </a:lnTo>
                  <a:lnTo>
                    <a:pt x="94" y="245"/>
                  </a:lnTo>
                  <a:lnTo>
                    <a:pt x="100" y="253"/>
                  </a:lnTo>
                  <a:lnTo>
                    <a:pt x="100" y="258"/>
                  </a:lnTo>
                  <a:lnTo>
                    <a:pt x="107" y="261"/>
                  </a:lnTo>
                  <a:lnTo>
                    <a:pt x="114" y="267"/>
                  </a:lnTo>
                  <a:lnTo>
                    <a:pt x="116" y="273"/>
                  </a:lnTo>
                  <a:lnTo>
                    <a:pt x="118" y="278"/>
                  </a:lnTo>
                  <a:lnTo>
                    <a:pt x="125" y="286"/>
                  </a:lnTo>
                  <a:lnTo>
                    <a:pt x="124" y="295"/>
                  </a:lnTo>
                  <a:lnTo>
                    <a:pt x="122" y="304"/>
                  </a:lnTo>
                  <a:lnTo>
                    <a:pt x="129" y="314"/>
                  </a:lnTo>
                  <a:lnTo>
                    <a:pt x="124" y="325"/>
                  </a:lnTo>
                  <a:lnTo>
                    <a:pt x="130" y="331"/>
                  </a:lnTo>
                  <a:lnTo>
                    <a:pt x="137" y="338"/>
                  </a:lnTo>
                  <a:lnTo>
                    <a:pt x="149" y="340"/>
                  </a:lnTo>
                  <a:lnTo>
                    <a:pt x="161" y="340"/>
                  </a:lnTo>
                  <a:lnTo>
                    <a:pt x="171" y="339"/>
                  </a:lnTo>
                  <a:lnTo>
                    <a:pt x="172" y="346"/>
                  </a:lnTo>
                  <a:lnTo>
                    <a:pt x="177" y="353"/>
                  </a:lnTo>
                  <a:lnTo>
                    <a:pt x="184" y="353"/>
                  </a:lnTo>
                  <a:lnTo>
                    <a:pt x="192" y="354"/>
                  </a:lnTo>
                  <a:lnTo>
                    <a:pt x="199" y="357"/>
                  </a:lnTo>
                  <a:lnTo>
                    <a:pt x="207" y="356"/>
                  </a:lnTo>
                  <a:lnTo>
                    <a:pt x="214" y="344"/>
                  </a:lnTo>
                  <a:lnTo>
                    <a:pt x="220" y="334"/>
                  </a:lnTo>
                  <a:lnTo>
                    <a:pt x="230" y="339"/>
                  </a:lnTo>
                  <a:lnTo>
                    <a:pt x="233" y="330"/>
                  </a:lnTo>
                  <a:lnTo>
                    <a:pt x="242" y="332"/>
                  </a:lnTo>
                  <a:lnTo>
                    <a:pt x="249" y="337"/>
                  </a:lnTo>
                  <a:lnTo>
                    <a:pt x="256" y="332"/>
                  </a:lnTo>
                  <a:lnTo>
                    <a:pt x="242" y="304"/>
                  </a:lnTo>
                  <a:lnTo>
                    <a:pt x="232" y="295"/>
                  </a:lnTo>
                  <a:lnTo>
                    <a:pt x="237" y="288"/>
                  </a:lnTo>
                  <a:lnTo>
                    <a:pt x="232" y="279"/>
                  </a:lnTo>
                  <a:lnTo>
                    <a:pt x="222" y="279"/>
                  </a:lnTo>
                  <a:lnTo>
                    <a:pt x="207" y="279"/>
                  </a:lnTo>
                  <a:lnTo>
                    <a:pt x="195" y="278"/>
                  </a:lnTo>
                  <a:lnTo>
                    <a:pt x="197" y="270"/>
                  </a:lnTo>
                  <a:lnTo>
                    <a:pt x="183" y="263"/>
                  </a:lnTo>
                  <a:lnTo>
                    <a:pt x="188" y="256"/>
                  </a:lnTo>
                  <a:lnTo>
                    <a:pt x="182" y="246"/>
                  </a:lnTo>
                  <a:lnTo>
                    <a:pt x="185" y="238"/>
                  </a:lnTo>
                  <a:lnTo>
                    <a:pt x="182" y="227"/>
                  </a:lnTo>
                  <a:lnTo>
                    <a:pt x="186" y="216"/>
                  </a:lnTo>
                  <a:lnTo>
                    <a:pt x="183" y="208"/>
                  </a:lnTo>
                  <a:lnTo>
                    <a:pt x="184" y="195"/>
                  </a:lnTo>
                  <a:lnTo>
                    <a:pt x="191" y="190"/>
                  </a:lnTo>
                  <a:lnTo>
                    <a:pt x="199" y="180"/>
                  </a:lnTo>
                  <a:lnTo>
                    <a:pt x="194" y="174"/>
                  </a:lnTo>
                  <a:lnTo>
                    <a:pt x="199" y="166"/>
                  </a:lnTo>
                  <a:lnTo>
                    <a:pt x="201" y="158"/>
                  </a:lnTo>
                  <a:lnTo>
                    <a:pt x="199" y="147"/>
                  </a:lnTo>
                  <a:lnTo>
                    <a:pt x="195" y="137"/>
                  </a:lnTo>
                  <a:lnTo>
                    <a:pt x="149" y="99"/>
                  </a:lnTo>
                  <a:lnTo>
                    <a:pt x="136" y="55"/>
                  </a:lnTo>
                  <a:lnTo>
                    <a:pt x="132" y="31"/>
                  </a:lnTo>
                  <a:lnTo>
                    <a:pt x="123" y="26"/>
                  </a:lnTo>
                  <a:lnTo>
                    <a:pt x="113" y="22"/>
                  </a:lnTo>
                  <a:lnTo>
                    <a:pt x="107" y="28"/>
                  </a:lnTo>
                  <a:lnTo>
                    <a:pt x="99" y="31"/>
                  </a:lnTo>
                  <a:lnTo>
                    <a:pt x="94" y="22"/>
                  </a:lnTo>
                  <a:lnTo>
                    <a:pt x="100" y="18"/>
                  </a:lnTo>
                  <a:lnTo>
                    <a:pt x="95" y="11"/>
                  </a:lnTo>
                  <a:lnTo>
                    <a:pt x="88" y="0"/>
                  </a:lnTo>
                  <a:lnTo>
                    <a:pt x="79" y="8"/>
                  </a:lnTo>
                  <a:lnTo>
                    <a:pt x="70" y="14"/>
                  </a:lnTo>
                  <a:lnTo>
                    <a:pt x="58" y="19"/>
                  </a:lnTo>
                  <a:lnTo>
                    <a:pt x="45" y="24"/>
                  </a:lnTo>
                  <a:lnTo>
                    <a:pt x="29" y="22"/>
                  </a:lnTo>
                  <a:lnTo>
                    <a:pt x="23" y="22"/>
                  </a:lnTo>
                  <a:lnTo>
                    <a:pt x="25" y="31"/>
                  </a:lnTo>
                  <a:lnTo>
                    <a:pt x="25" y="43"/>
                  </a:lnTo>
                  <a:lnTo>
                    <a:pt x="22" y="50"/>
                  </a:lnTo>
                  <a:lnTo>
                    <a:pt x="23" y="61"/>
                  </a:lnTo>
                  <a:lnTo>
                    <a:pt x="25" y="69"/>
                  </a:lnTo>
                  <a:lnTo>
                    <a:pt x="26" y="79"/>
                  </a:lnTo>
                  <a:lnTo>
                    <a:pt x="20" y="82"/>
                  </a:lnTo>
                  <a:lnTo>
                    <a:pt x="20" y="88"/>
                  </a:lnTo>
                  <a:lnTo>
                    <a:pt x="15" y="94"/>
                  </a:lnTo>
                  <a:lnTo>
                    <a:pt x="10" y="101"/>
                  </a:lnTo>
                  <a:lnTo>
                    <a:pt x="8" y="111"/>
                  </a:lnTo>
                  <a:lnTo>
                    <a:pt x="10" y="117"/>
                  </a:lnTo>
                  <a:lnTo>
                    <a:pt x="15" y="123"/>
                  </a:lnTo>
                  <a:lnTo>
                    <a:pt x="18" y="130"/>
                  </a:lnTo>
                  <a:lnTo>
                    <a:pt x="17" y="141"/>
                  </a:lnTo>
                  <a:lnTo>
                    <a:pt x="26" y="144"/>
                  </a:lnTo>
                  <a:lnTo>
                    <a:pt x="28" y="135"/>
                  </a:lnTo>
                  <a:lnTo>
                    <a:pt x="33" y="125"/>
                  </a:lnTo>
                  <a:lnTo>
                    <a:pt x="41" y="131"/>
                  </a:lnTo>
                  <a:lnTo>
                    <a:pt x="39" y="146"/>
                  </a:lnTo>
                  <a:lnTo>
                    <a:pt x="33" y="156"/>
                  </a:lnTo>
                  <a:lnTo>
                    <a:pt x="32" y="168"/>
                  </a:lnTo>
                  <a:lnTo>
                    <a:pt x="32" y="178"/>
                  </a:lnTo>
                  <a:lnTo>
                    <a:pt x="38" y="186"/>
                  </a:lnTo>
                  <a:lnTo>
                    <a:pt x="49" y="196"/>
                  </a:lnTo>
                  <a:lnTo>
                    <a:pt x="49" y="205"/>
                  </a:lnTo>
                  <a:lnTo>
                    <a:pt x="41" y="208"/>
                  </a:lnTo>
                  <a:lnTo>
                    <a:pt x="42" y="218"/>
                  </a:lnTo>
                  <a:lnTo>
                    <a:pt x="40" y="226"/>
                  </a:lnTo>
                  <a:lnTo>
                    <a:pt x="31" y="234"/>
                  </a:lnTo>
                  <a:lnTo>
                    <a:pt x="26" y="240"/>
                  </a:lnTo>
                  <a:lnTo>
                    <a:pt x="18" y="243"/>
                  </a:lnTo>
                  <a:lnTo>
                    <a:pt x="9" y="238"/>
                  </a:lnTo>
                  <a:lnTo>
                    <a:pt x="0" y="234"/>
                  </a:lnTo>
                  <a:lnTo>
                    <a:pt x="3" y="241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9481B2D2-9D2C-414E-A227-661C550F7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" y="1110"/>
              <a:ext cx="297" cy="541"/>
            </a:xfrm>
            <a:custGeom>
              <a:avLst/>
              <a:gdLst>
                <a:gd name="T0" fmla="*/ 9 w 297"/>
                <a:gd name="T1" fmla="*/ 19 h 541"/>
                <a:gd name="T2" fmla="*/ 0 w 297"/>
                <a:gd name="T3" fmla="*/ 49 h 541"/>
                <a:gd name="T4" fmla="*/ 4 w 297"/>
                <a:gd name="T5" fmla="*/ 72 h 541"/>
                <a:gd name="T6" fmla="*/ 22 w 297"/>
                <a:gd name="T7" fmla="*/ 96 h 541"/>
                <a:gd name="T8" fmla="*/ 11 w 297"/>
                <a:gd name="T9" fmla="*/ 118 h 541"/>
                <a:gd name="T10" fmla="*/ 33 w 297"/>
                <a:gd name="T11" fmla="*/ 129 h 541"/>
                <a:gd name="T12" fmla="*/ 28 w 297"/>
                <a:gd name="T13" fmla="*/ 158 h 541"/>
                <a:gd name="T14" fmla="*/ 54 w 297"/>
                <a:gd name="T15" fmla="*/ 153 h 541"/>
                <a:gd name="T16" fmla="*/ 79 w 297"/>
                <a:gd name="T17" fmla="*/ 167 h 541"/>
                <a:gd name="T18" fmla="*/ 105 w 297"/>
                <a:gd name="T19" fmla="*/ 186 h 541"/>
                <a:gd name="T20" fmla="*/ 109 w 297"/>
                <a:gd name="T21" fmla="*/ 220 h 541"/>
                <a:gd name="T22" fmla="*/ 131 w 297"/>
                <a:gd name="T23" fmla="*/ 244 h 541"/>
                <a:gd name="T24" fmla="*/ 157 w 297"/>
                <a:gd name="T25" fmla="*/ 264 h 541"/>
                <a:gd name="T26" fmla="*/ 153 w 297"/>
                <a:gd name="T27" fmla="*/ 283 h 541"/>
                <a:gd name="T28" fmla="*/ 162 w 297"/>
                <a:gd name="T29" fmla="*/ 314 h 541"/>
                <a:gd name="T30" fmla="*/ 159 w 297"/>
                <a:gd name="T31" fmla="*/ 338 h 541"/>
                <a:gd name="T32" fmla="*/ 144 w 297"/>
                <a:gd name="T33" fmla="*/ 351 h 541"/>
                <a:gd name="T34" fmla="*/ 124 w 297"/>
                <a:gd name="T35" fmla="*/ 367 h 541"/>
                <a:gd name="T36" fmla="*/ 163 w 297"/>
                <a:gd name="T37" fmla="*/ 393 h 541"/>
                <a:gd name="T38" fmla="*/ 173 w 297"/>
                <a:gd name="T39" fmla="*/ 424 h 541"/>
                <a:gd name="T40" fmla="*/ 181 w 297"/>
                <a:gd name="T41" fmla="*/ 444 h 541"/>
                <a:gd name="T42" fmla="*/ 167 w 297"/>
                <a:gd name="T43" fmla="*/ 463 h 541"/>
                <a:gd name="T44" fmla="*/ 174 w 297"/>
                <a:gd name="T45" fmla="*/ 486 h 541"/>
                <a:gd name="T46" fmla="*/ 193 w 297"/>
                <a:gd name="T47" fmla="*/ 478 h 541"/>
                <a:gd name="T48" fmla="*/ 204 w 297"/>
                <a:gd name="T49" fmla="*/ 486 h 541"/>
                <a:gd name="T50" fmla="*/ 197 w 297"/>
                <a:gd name="T51" fmla="*/ 509 h 541"/>
                <a:gd name="T52" fmla="*/ 204 w 297"/>
                <a:gd name="T53" fmla="*/ 537 h 541"/>
                <a:gd name="T54" fmla="*/ 264 w 297"/>
                <a:gd name="T55" fmla="*/ 506 h 541"/>
                <a:gd name="T56" fmla="*/ 278 w 297"/>
                <a:gd name="T57" fmla="*/ 465 h 541"/>
                <a:gd name="T58" fmla="*/ 291 w 297"/>
                <a:gd name="T59" fmla="*/ 437 h 541"/>
                <a:gd name="T60" fmla="*/ 285 w 297"/>
                <a:gd name="T61" fmla="*/ 404 h 541"/>
                <a:gd name="T62" fmla="*/ 286 w 297"/>
                <a:gd name="T63" fmla="*/ 374 h 541"/>
                <a:gd name="T64" fmla="*/ 297 w 297"/>
                <a:gd name="T65" fmla="*/ 339 h 541"/>
                <a:gd name="T66" fmla="*/ 286 w 297"/>
                <a:gd name="T67" fmla="*/ 295 h 541"/>
                <a:gd name="T68" fmla="*/ 285 w 297"/>
                <a:gd name="T69" fmla="*/ 267 h 541"/>
                <a:gd name="T70" fmla="*/ 264 w 297"/>
                <a:gd name="T71" fmla="*/ 246 h 541"/>
                <a:gd name="T72" fmla="*/ 239 w 297"/>
                <a:gd name="T73" fmla="*/ 246 h 541"/>
                <a:gd name="T74" fmla="*/ 216 w 297"/>
                <a:gd name="T75" fmla="*/ 233 h 541"/>
                <a:gd name="T76" fmla="*/ 193 w 297"/>
                <a:gd name="T77" fmla="*/ 211 h 541"/>
                <a:gd name="T78" fmla="*/ 173 w 297"/>
                <a:gd name="T79" fmla="*/ 210 h 541"/>
                <a:gd name="T80" fmla="*/ 143 w 297"/>
                <a:gd name="T81" fmla="*/ 189 h 541"/>
                <a:gd name="T82" fmla="*/ 121 w 297"/>
                <a:gd name="T83" fmla="*/ 176 h 541"/>
                <a:gd name="T84" fmla="*/ 120 w 297"/>
                <a:gd name="T85" fmla="*/ 153 h 541"/>
                <a:gd name="T86" fmla="*/ 120 w 297"/>
                <a:gd name="T87" fmla="*/ 133 h 541"/>
                <a:gd name="T88" fmla="*/ 109 w 297"/>
                <a:gd name="T89" fmla="*/ 112 h 541"/>
                <a:gd name="T90" fmla="*/ 110 w 297"/>
                <a:gd name="T91" fmla="*/ 91 h 541"/>
                <a:gd name="T92" fmla="*/ 100 w 297"/>
                <a:gd name="T93" fmla="*/ 75 h 541"/>
                <a:gd name="T94" fmla="*/ 85 w 297"/>
                <a:gd name="T95" fmla="*/ 50 h 541"/>
                <a:gd name="T96" fmla="*/ 63 w 297"/>
                <a:gd name="T97" fmla="*/ 42 h 541"/>
                <a:gd name="T98" fmla="*/ 46 w 297"/>
                <a:gd name="T99" fmla="*/ 30 h 541"/>
                <a:gd name="T100" fmla="*/ 40 w 297"/>
                <a:gd name="T101" fmla="*/ 8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7" h="541">
                  <a:moveTo>
                    <a:pt x="27" y="4"/>
                  </a:moveTo>
                  <a:lnTo>
                    <a:pt x="16" y="11"/>
                  </a:lnTo>
                  <a:lnTo>
                    <a:pt x="9" y="19"/>
                  </a:lnTo>
                  <a:lnTo>
                    <a:pt x="1" y="29"/>
                  </a:lnTo>
                  <a:lnTo>
                    <a:pt x="0" y="42"/>
                  </a:lnTo>
                  <a:lnTo>
                    <a:pt x="0" y="49"/>
                  </a:lnTo>
                  <a:lnTo>
                    <a:pt x="4" y="55"/>
                  </a:lnTo>
                  <a:lnTo>
                    <a:pt x="1" y="61"/>
                  </a:lnTo>
                  <a:lnTo>
                    <a:pt x="4" y="72"/>
                  </a:lnTo>
                  <a:lnTo>
                    <a:pt x="6" y="81"/>
                  </a:lnTo>
                  <a:lnTo>
                    <a:pt x="13" y="89"/>
                  </a:lnTo>
                  <a:lnTo>
                    <a:pt x="22" y="96"/>
                  </a:lnTo>
                  <a:lnTo>
                    <a:pt x="11" y="100"/>
                  </a:lnTo>
                  <a:lnTo>
                    <a:pt x="11" y="110"/>
                  </a:lnTo>
                  <a:lnTo>
                    <a:pt x="11" y="118"/>
                  </a:lnTo>
                  <a:lnTo>
                    <a:pt x="19" y="122"/>
                  </a:lnTo>
                  <a:lnTo>
                    <a:pt x="34" y="124"/>
                  </a:lnTo>
                  <a:lnTo>
                    <a:pt x="33" y="129"/>
                  </a:lnTo>
                  <a:lnTo>
                    <a:pt x="33" y="139"/>
                  </a:lnTo>
                  <a:lnTo>
                    <a:pt x="26" y="148"/>
                  </a:lnTo>
                  <a:lnTo>
                    <a:pt x="28" y="158"/>
                  </a:lnTo>
                  <a:lnTo>
                    <a:pt x="36" y="152"/>
                  </a:lnTo>
                  <a:lnTo>
                    <a:pt x="47" y="150"/>
                  </a:lnTo>
                  <a:lnTo>
                    <a:pt x="54" y="153"/>
                  </a:lnTo>
                  <a:lnTo>
                    <a:pt x="65" y="160"/>
                  </a:lnTo>
                  <a:lnTo>
                    <a:pt x="70" y="166"/>
                  </a:lnTo>
                  <a:lnTo>
                    <a:pt x="79" y="167"/>
                  </a:lnTo>
                  <a:lnTo>
                    <a:pt x="86" y="168"/>
                  </a:lnTo>
                  <a:lnTo>
                    <a:pt x="94" y="178"/>
                  </a:lnTo>
                  <a:lnTo>
                    <a:pt x="105" y="186"/>
                  </a:lnTo>
                  <a:lnTo>
                    <a:pt x="104" y="200"/>
                  </a:lnTo>
                  <a:lnTo>
                    <a:pt x="101" y="210"/>
                  </a:lnTo>
                  <a:lnTo>
                    <a:pt x="109" y="220"/>
                  </a:lnTo>
                  <a:lnTo>
                    <a:pt x="116" y="229"/>
                  </a:lnTo>
                  <a:lnTo>
                    <a:pt x="122" y="239"/>
                  </a:lnTo>
                  <a:lnTo>
                    <a:pt x="131" y="244"/>
                  </a:lnTo>
                  <a:lnTo>
                    <a:pt x="140" y="246"/>
                  </a:lnTo>
                  <a:lnTo>
                    <a:pt x="148" y="252"/>
                  </a:lnTo>
                  <a:lnTo>
                    <a:pt x="157" y="264"/>
                  </a:lnTo>
                  <a:lnTo>
                    <a:pt x="162" y="271"/>
                  </a:lnTo>
                  <a:lnTo>
                    <a:pt x="162" y="281"/>
                  </a:lnTo>
                  <a:lnTo>
                    <a:pt x="153" y="283"/>
                  </a:lnTo>
                  <a:lnTo>
                    <a:pt x="156" y="294"/>
                  </a:lnTo>
                  <a:lnTo>
                    <a:pt x="158" y="303"/>
                  </a:lnTo>
                  <a:lnTo>
                    <a:pt x="162" y="314"/>
                  </a:lnTo>
                  <a:lnTo>
                    <a:pt x="165" y="320"/>
                  </a:lnTo>
                  <a:lnTo>
                    <a:pt x="171" y="327"/>
                  </a:lnTo>
                  <a:lnTo>
                    <a:pt x="159" y="338"/>
                  </a:lnTo>
                  <a:lnTo>
                    <a:pt x="156" y="347"/>
                  </a:lnTo>
                  <a:lnTo>
                    <a:pt x="150" y="356"/>
                  </a:lnTo>
                  <a:lnTo>
                    <a:pt x="144" y="351"/>
                  </a:lnTo>
                  <a:lnTo>
                    <a:pt x="137" y="354"/>
                  </a:lnTo>
                  <a:lnTo>
                    <a:pt x="134" y="362"/>
                  </a:lnTo>
                  <a:lnTo>
                    <a:pt x="124" y="367"/>
                  </a:lnTo>
                  <a:lnTo>
                    <a:pt x="140" y="378"/>
                  </a:lnTo>
                  <a:lnTo>
                    <a:pt x="152" y="384"/>
                  </a:lnTo>
                  <a:lnTo>
                    <a:pt x="163" y="393"/>
                  </a:lnTo>
                  <a:lnTo>
                    <a:pt x="171" y="402"/>
                  </a:lnTo>
                  <a:lnTo>
                    <a:pt x="174" y="412"/>
                  </a:lnTo>
                  <a:lnTo>
                    <a:pt x="173" y="424"/>
                  </a:lnTo>
                  <a:lnTo>
                    <a:pt x="178" y="428"/>
                  </a:lnTo>
                  <a:lnTo>
                    <a:pt x="186" y="435"/>
                  </a:lnTo>
                  <a:lnTo>
                    <a:pt x="181" y="444"/>
                  </a:lnTo>
                  <a:lnTo>
                    <a:pt x="169" y="448"/>
                  </a:lnTo>
                  <a:lnTo>
                    <a:pt x="169" y="456"/>
                  </a:lnTo>
                  <a:lnTo>
                    <a:pt x="167" y="463"/>
                  </a:lnTo>
                  <a:lnTo>
                    <a:pt x="165" y="473"/>
                  </a:lnTo>
                  <a:lnTo>
                    <a:pt x="169" y="481"/>
                  </a:lnTo>
                  <a:lnTo>
                    <a:pt x="174" y="486"/>
                  </a:lnTo>
                  <a:lnTo>
                    <a:pt x="182" y="492"/>
                  </a:lnTo>
                  <a:lnTo>
                    <a:pt x="190" y="487"/>
                  </a:lnTo>
                  <a:lnTo>
                    <a:pt x="193" y="478"/>
                  </a:lnTo>
                  <a:lnTo>
                    <a:pt x="197" y="470"/>
                  </a:lnTo>
                  <a:lnTo>
                    <a:pt x="205" y="480"/>
                  </a:lnTo>
                  <a:lnTo>
                    <a:pt x="204" y="486"/>
                  </a:lnTo>
                  <a:lnTo>
                    <a:pt x="195" y="494"/>
                  </a:lnTo>
                  <a:lnTo>
                    <a:pt x="200" y="502"/>
                  </a:lnTo>
                  <a:lnTo>
                    <a:pt x="197" y="509"/>
                  </a:lnTo>
                  <a:lnTo>
                    <a:pt x="199" y="519"/>
                  </a:lnTo>
                  <a:lnTo>
                    <a:pt x="204" y="526"/>
                  </a:lnTo>
                  <a:lnTo>
                    <a:pt x="204" y="537"/>
                  </a:lnTo>
                  <a:lnTo>
                    <a:pt x="212" y="541"/>
                  </a:lnTo>
                  <a:lnTo>
                    <a:pt x="223" y="541"/>
                  </a:lnTo>
                  <a:lnTo>
                    <a:pt x="264" y="506"/>
                  </a:lnTo>
                  <a:lnTo>
                    <a:pt x="271" y="495"/>
                  </a:lnTo>
                  <a:lnTo>
                    <a:pt x="276" y="478"/>
                  </a:lnTo>
                  <a:lnTo>
                    <a:pt x="278" y="465"/>
                  </a:lnTo>
                  <a:lnTo>
                    <a:pt x="282" y="453"/>
                  </a:lnTo>
                  <a:lnTo>
                    <a:pt x="288" y="448"/>
                  </a:lnTo>
                  <a:lnTo>
                    <a:pt x="291" y="437"/>
                  </a:lnTo>
                  <a:lnTo>
                    <a:pt x="289" y="425"/>
                  </a:lnTo>
                  <a:lnTo>
                    <a:pt x="288" y="415"/>
                  </a:lnTo>
                  <a:lnTo>
                    <a:pt x="285" y="404"/>
                  </a:lnTo>
                  <a:lnTo>
                    <a:pt x="279" y="395"/>
                  </a:lnTo>
                  <a:lnTo>
                    <a:pt x="280" y="383"/>
                  </a:lnTo>
                  <a:lnTo>
                    <a:pt x="286" y="374"/>
                  </a:lnTo>
                  <a:lnTo>
                    <a:pt x="294" y="368"/>
                  </a:lnTo>
                  <a:lnTo>
                    <a:pt x="294" y="354"/>
                  </a:lnTo>
                  <a:lnTo>
                    <a:pt x="297" y="339"/>
                  </a:lnTo>
                  <a:lnTo>
                    <a:pt x="294" y="319"/>
                  </a:lnTo>
                  <a:lnTo>
                    <a:pt x="288" y="306"/>
                  </a:lnTo>
                  <a:lnTo>
                    <a:pt x="286" y="295"/>
                  </a:lnTo>
                  <a:lnTo>
                    <a:pt x="287" y="287"/>
                  </a:lnTo>
                  <a:lnTo>
                    <a:pt x="288" y="275"/>
                  </a:lnTo>
                  <a:lnTo>
                    <a:pt x="285" y="267"/>
                  </a:lnTo>
                  <a:lnTo>
                    <a:pt x="273" y="258"/>
                  </a:lnTo>
                  <a:lnTo>
                    <a:pt x="276" y="247"/>
                  </a:lnTo>
                  <a:lnTo>
                    <a:pt x="264" y="246"/>
                  </a:lnTo>
                  <a:lnTo>
                    <a:pt x="254" y="245"/>
                  </a:lnTo>
                  <a:lnTo>
                    <a:pt x="247" y="240"/>
                  </a:lnTo>
                  <a:lnTo>
                    <a:pt x="239" y="246"/>
                  </a:lnTo>
                  <a:lnTo>
                    <a:pt x="231" y="245"/>
                  </a:lnTo>
                  <a:lnTo>
                    <a:pt x="226" y="235"/>
                  </a:lnTo>
                  <a:lnTo>
                    <a:pt x="216" y="233"/>
                  </a:lnTo>
                  <a:lnTo>
                    <a:pt x="205" y="224"/>
                  </a:lnTo>
                  <a:lnTo>
                    <a:pt x="201" y="215"/>
                  </a:lnTo>
                  <a:lnTo>
                    <a:pt x="193" y="211"/>
                  </a:lnTo>
                  <a:lnTo>
                    <a:pt x="185" y="215"/>
                  </a:lnTo>
                  <a:lnTo>
                    <a:pt x="180" y="202"/>
                  </a:lnTo>
                  <a:lnTo>
                    <a:pt x="173" y="210"/>
                  </a:lnTo>
                  <a:lnTo>
                    <a:pt x="159" y="205"/>
                  </a:lnTo>
                  <a:lnTo>
                    <a:pt x="152" y="197"/>
                  </a:lnTo>
                  <a:lnTo>
                    <a:pt x="143" y="189"/>
                  </a:lnTo>
                  <a:lnTo>
                    <a:pt x="133" y="183"/>
                  </a:lnTo>
                  <a:lnTo>
                    <a:pt x="122" y="185"/>
                  </a:lnTo>
                  <a:lnTo>
                    <a:pt x="121" y="176"/>
                  </a:lnTo>
                  <a:lnTo>
                    <a:pt x="123" y="166"/>
                  </a:lnTo>
                  <a:lnTo>
                    <a:pt x="124" y="160"/>
                  </a:lnTo>
                  <a:lnTo>
                    <a:pt x="120" y="153"/>
                  </a:lnTo>
                  <a:lnTo>
                    <a:pt x="115" y="142"/>
                  </a:lnTo>
                  <a:lnTo>
                    <a:pt x="126" y="135"/>
                  </a:lnTo>
                  <a:lnTo>
                    <a:pt x="120" y="133"/>
                  </a:lnTo>
                  <a:lnTo>
                    <a:pt x="112" y="128"/>
                  </a:lnTo>
                  <a:lnTo>
                    <a:pt x="110" y="123"/>
                  </a:lnTo>
                  <a:lnTo>
                    <a:pt x="109" y="112"/>
                  </a:lnTo>
                  <a:lnTo>
                    <a:pt x="117" y="107"/>
                  </a:lnTo>
                  <a:lnTo>
                    <a:pt x="118" y="102"/>
                  </a:lnTo>
                  <a:lnTo>
                    <a:pt x="110" y="91"/>
                  </a:lnTo>
                  <a:lnTo>
                    <a:pt x="103" y="87"/>
                  </a:lnTo>
                  <a:lnTo>
                    <a:pt x="93" y="82"/>
                  </a:lnTo>
                  <a:lnTo>
                    <a:pt x="100" y="75"/>
                  </a:lnTo>
                  <a:lnTo>
                    <a:pt x="98" y="65"/>
                  </a:lnTo>
                  <a:lnTo>
                    <a:pt x="90" y="53"/>
                  </a:lnTo>
                  <a:lnTo>
                    <a:pt x="85" y="50"/>
                  </a:lnTo>
                  <a:lnTo>
                    <a:pt x="74" y="48"/>
                  </a:lnTo>
                  <a:lnTo>
                    <a:pt x="64" y="49"/>
                  </a:lnTo>
                  <a:lnTo>
                    <a:pt x="63" y="42"/>
                  </a:lnTo>
                  <a:lnTo>
                    <a:pt x="56" y="37"/>
                  </a:lnTo>
                  <a:lnTo>
                    <a:pt x="47" y="37"/>
                  </a:lnTo>
                  <a:lnTo>
                    <a:pt x="46" y="30"/>
                  </a:lnTo>
                  <a:lnTo>
                    <a:pt x="40" y="25"/>
                  </a:lnTo>
                  <a:lnTo>
                    <a:pt x="41" y="17"/>
                  </a:lnTo>
                  <a:lnTo>
                    <a:pt x="40" y="8"/>
                  </a:lnTo>
                  <a:lnTo>
                    <a:pt x="39" y="0"/>
                  </a:lnTo>
                  <a:lnTo>
                    <a:pt x="27" y="4"/>
                  </a:lnTo>
                  <a:close/>
                </a:path>
              </a:pathLst>
            </a:custGeom>
            <a:solidFill>
              <a:srgbClr val="447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B4255DF8-FEAB-42DC-B70D-DE620624F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" y="1110"/>
              <a:ext cx="297" cy="541"/>
            </a:xfrm>
            <a:custGeom>
              <a:avLst/>
              <a:gdLst>
                <a:gd name="T0" fmla="*/ 9 w 297"/>
                <a:gd name="T1" fmla="*/ 19 h 541"/>
                <a:gd name="T2" fmla="*/ 0 w 297"/>
                <a:gd name="T3" fmla="*/ 49 h 541"/>
                <a:gd name="T4" fmla="*/ 4 w 297"/>
                <a:gd name="T5" fmla="*/ 72 h 541"/>
                <a:gd name="T6" fmla="*/ 22 w 297"/>
                <a:gd name="T7" fmla="*/ 96 h 541"/>
                <a:gd name="T8" fmla="*/ 11 w 297"/>
                <a:gd name="T9" fmla="*/ 118 h 541"/>
                <a:gd name="T10" fmla="*/ 33 w 297"/>
                <a:gd name="T11" fmla="*/ 129 h 541"/>
                <a:gd name="T12" fmla="*/ 28 w 297"/>
                <a:gd name="T13" fmla="*/ 158 h 541"/>
                <a:gd name="T14" fmla="*/ 54 w 297"/>
                <a:gd name="T15" fmla="*/ 153 h 541"/>
                <a:gd name="T16" fmla="*/ 79 w 297"/>
                <a:gd name="T17" fmla="*/ 167 h 541"/>
                <a:gd name="T18" fmla="*/ 105 w 297"/>
                <a:gd name="T19" fmla="*/ 186 h 541"/>
                <a:gd name="T20" fmla="*/ 109 w 297"/>
                <a:gd name="T21" fmla="*/ 220 h 541"/>
                <a:gd name="T22" fmla="*/ 131 w 297"/>
                <a:gd name="T23" fmla="*/ 244 h 541"/>
                <a:gd name="T24" fmla="*/ 157 w 297"/>
                <a:gd name="T25" fmla="*/ 264 h 541"/>
                <a:gd name="T26" fmla="*/ 153 w 297"/>
                <a:gd name="T27" fmla="*/ 283 h 541"/>
                <a:gd name="T28" fmla="*/ 162 w 297"/>
                <a:gd name="T29" fmla="*/ 314 h 541"/>
                <a:gd name="T30" fmla="*/ 159 w 297"/>
                <a:gd name="T31" fmla="*/ 338 h 541"/>
                <a:gd name="T32" fmla="*/ 144 w 297"/>
                <a:gd name="T33" fmla="*/ 351 h 541"/>
                <a:gd name="T34" fmla="*/ 124 w 297"/>
                <a:gd name="T35" fmla="*/ 367 h 541"/>
                <a:gd name="T36" fmla="*/ 163 w 297"/>
                <a:gd name="T37" fmla="*/ 393 h 541"/>
                <a:gd name="T38" fmla="*/ 173 w 297"/>
                <a:gd name="T39" fmla="*/ 424 h 541"/>
                <a:gd name="T40" fmla="*/ 181 w 297"/>
                <a:gd name="T41" fmla="*/ 444 h 541"/>
                <a:gd name="T42" fmla="*/ 167 w 297"/>
                <a:gd name="T43" fmla="*/ 463 h 541"/>
                <a:gd name="T44" fmla="*/ 174 w 297"/>
                <a:gd name="T45" fmla="*/ 486 h 541"/>
                <a:gd name="T46" fmla="*/ 193 w 297"/>
                <a:gd name="T47" fmla="*/ 478 h 541"/>
                <a:gd name="T48" fmla="*/ 204 w 297"/>
                <a:gd name="T49" fmla="*/ 486 h 541"/>
                <a:gd name="T50" fmla="*/ 197 w 297"/>
                <a:gd name="T51" fmla="*/ 509 h 541"/>
                <a:gd name="T52" fmla="*/ 204 w 297"/>
                <a:gd name="T53" fmla="*/ 537 h 541"/>
                <a:gd name="T54" fmla="*/ 264 w 297"/>
                <a:gd name="T55" fmla="*/ 506 h 541"/>
                <a:gd name="T56" fmla="*/ 278 w 297"/>
                <a:gd name="T57" fmla="*/ 465 h 541"/>
                <a:gd name="T58" fmla="*/ 291 w 297"/>
                <a:gd name="T59" fmla="*/ 437 h 541"/>
                <a:gd name="T60" fmla="*/ 285 w 297"/>
                <a:gd name="T61" fmla="*/ 404 h 541"/>
                <a:gd name="T62" fmla="*/ 286 w 297"/>
                <a:gd name="T63" fmla="*/ 374 h 541"/>
                <a:gd name="T64" fmla="*/ 297 w 297"/>
                <a:gd name="T65" fmla="*/ 339 h 541"/>
                <a:gd name="T66" fmla="*/ 286 w 297"/>
                <a:gd name="T67" fmla="*/ 295 h 541"/>
                <a:gd name="T68" fmla="*/ 285 w 297"/>
                <a:gd name="T69" fmla="*/ 267 h 541"/>
                <a:gd name="T70" fmla="*/ 264 w 297"/>
                <a:gd name="T71" fmla="*/ 246 h 541"/>
                <a:gd name="T72" fmla="*/ 239 w 297"/>
                <a:gd name="T73" fmla="*/ 246 h 541"/>
                <a:gd name="T74" fmla="*/ 216 w 297"/>
                <a:gd name="T75" fmla="*/ 233 h 541"/>
                <a:gd name="T76" fmla="*/ 193 w 297"/>
                <a:gd name="T77" fmla="*/ 211 h 541"/>
                <a:gd name="T78" fmla="*/ 173 w 297"/>
                <a:gd name="T79" fmla="*/ 210 h 541"/>
                <a:gd name="T80" fmla="*/ 143 w 297"/>
                <a:gd name="T81" fmla="*/ 189 h 541"/>
                <a:gd name="T82" fmla="*/ 121 w 297"/>
                <a:gd name="T83" fmla="*/ 176 h 541"/>
                <a:gd name="T84" fmla="*/ 120 w 297"/>
                <a:gd name="T85" fmla="*/ 153 h 541"/>
                <a:gd name="T86" fmla="*/ 120 w 297"/>
                <a:gd name="T87" fmla="*/ 133 h 541"/>
                <a:gd name="T88" fmla="*/ 109 w 297"/>
                <a:gd name="T89" fmla="*/ 112 h 541"/>
                <a:gd name="T90" fmla="*/ 110 w 297"/>
                <a:gd name="T91" fmla="*/ 91 h 541"/>
                <a:gd name="T92" fmla="*/ 100 w 297"/>
                <a:gd name="T93" fmla="*/ 75 h 541"/>
                <a:gd name="T94" fmla="*/ 85 w 297"/>
                <a:gd name="T95" fmla="*/ 50 h 541"/>
                <a:gd name="T96" fmla="*/ 63 w 297"/>
                <a:gd name="T97" fmla="*/ 42 h 541"/>
                <a:gd name="T98" fmla="*/ 46 w 297"/>
                <a:gd name="T99" fmla="*/ 30 h 541"/>
                <a:gd name="T100" fmla="*/ 40 w 297"/>
                <a:gd name="T101" fmla="*/ 8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7" h="541">
                  <a:moveTo>
                    <a:pt x="27" y="4"/>
                  </a:moveTo>
                  <a:lnTo>
                    <a:pt x="16" y="11"/>
                  </a:lnTo>
                  <a:lnTo>
                    <a:pt x="9" y="19"/>
                  </a:lnTo>
                  <a:lnTo>
                    <a:pt x="1" y="29"/>
                  </a:lnTo>
                  <a:lnTo>
                    <a:pt x="0" y="42"/>
                  </a:lnTo>
                  <a:lnTo>
                    <a:pt x="0" y="49"/>
                  </a:lnTo>
                  <a:lnTo>
                    <a:pt x="4" y="55"/>
                  </a:lnTo>
                  <a:lnTo>
                    <a:pt x="1" y="61"/>
                  </a:lnTo>
                  <a:lnTo>
                    <a:pt x="4" y="72"/>
                  </a:lnTo>
                  <a:lnTo>
                    <a:pt x="6" y="81"/>
                  </a:lnTo>
                  <a:lnTo>
                    <a:pt x="13" y="89"/>
                  </a:lnTo>
                  <a:lnTo>
                    <a:pt x="22" y="96"/>
                  </a:lnTo>
                  <a:lnTo>
                    <a:pt x="11" y="100"/>
                  </a:lnTo>
                  <a:lnTo>
                    <a:pt x="11" y="110"/>
                  </a:lnTo>
                  <a:lnTo>
                    <a:pt x="11" y="118"/>
                  </a:lnTo>
                  <a:lnTo>
                    <a:pt x="19" y="122"/>
                  </a:lnTo>
                  <a:lnTo>
                    <a:pt x="34" y="124"/>
                  </a:lnTo>
                  <a:lnTo>
                    <a:pt x="33" y="129"/>
                  </a:lnTo>
                  <a:lnTo>
                    <a:pt x="33" y="139"/>
                  </a:lnTo>
                  <a:lnTo>
                    <a:pt x="26" y="148"/>
                  </a:lnTo>
                  <a:lnTo>
                    <a:pt x="28" y="158"/>
                  </a:lnTo>
                  <a:lnTo>
                    <a:pt x="36" y="152"/>
                  </a:lnTo>
                  <a:lnTo>
                    <a:pt x="47" y="150"/>
                  </a:lnTo>
                  <a:lnTo>
                    <a:pt x="54" y="153"/>
                  </a:lnTo>
                  <a:lnTo>
                    <a:pt x="65" y="160"/>
                  </a:lnTo>
                  <a:lnTo>
                    <a:pt x="70" y="166"/>
                  </a:lnTo>
                  <a:lnTo>
                    <a:pt x="79" y="167"/>
                  </a:lnTo>
                  <a:lnTo>
                    <a:pt x="86" y="168"/>
                  </a:lnTo>
                  <a:lnTo>
                    <a:pt x="94" y="178"/>
                  </a:lnTo>
                  <a:lnTo>
                    <a:pt x="105" y="186"/>
                  </a:lnTo>
                  <a:lnTo>
                    <a:pt x="104" y="200"/>
                  </a:lnTo>
                  <a:lnTo>
                    <a:pt x="101" y="210"/>
                  </a:lnTo>
                  <a:lnTo>
                    <a:pt x="109" y="220"/>
                  </a:lnTo>
                  <a:lnTo>
                    <a:pt x="116" y="229"/>
                  </a:lnTo>
                  <a:lnTo>
                    <a:pt x="122" y="239"/>
                  </a:lnTo>
                  <a:lnTo>
                    <a:pt x="131" y="244"/>
                  </a:lnTo>
                  <a:lnTo>
                    <a:pt x="140" y="246"/>
                  </a:lnTo>
                  <a:lnTo>
                    <a:pt x="148" y="252"/>
                  </a:lnTo>
                  <a:lnTo>
                    <a:pt x="157" y="264"/>
                  </a:lnTo>
                  <a:lnTo>
                    <a:pt x="162" y="271"/>
                  </a:lnTo>
                  <a:lnTo>
                    <a:pt x="162" y="281"/>
                  </a:lnTo>
                  <a:lnTo>
                    <a:pt x="153" y="283"/>
                  </a:lnTo>
                  <a:lnTo>
                    <a:pt x="156" y="294"/>
                  </a:lnTo>
                  <a:lnTo>
                    <a:pt x="158" y="303"/>
                  </a:lnTo>
                  <a:lnTo>
                    <a:pt x="162" y="314"/>
                  </a:lnTo>
                  <a:lnTo>
                    <a:pt x="165" y="320"/>
                  </a:lnTo>
                  <a:lnTo>
                    <a:pt x="171" y="327"/>
                  </a:lnTo>
                  <a:lnTo>
                    <a:pt x="159" y="338"/>
                  </a:lnTo>
                  <a:lnTo>
                    <a:pt x="156" y="347"/>
                  </a:lnTo>
                  <a:lnTo>
                    <a:pt x="150" y="356"/>
                  </a:lnTo>
                  <a:lnTo>
                    <a:pt x="144" y="351"/>
                  </a:lnTo>
                  <a:lnTo>
                    <a:pt x="137" y="354"/>
                  </a:lnTo>
                  <a:lnTo>
                    <a:pt x="134" y="362"/>
                  </a:lnTo>
                  <a:lnTo>
                    <a:pt x="124" y="367"/>
                  </a:lnTo>
                  <a:lnTo>
                    <a:pt x="140" y="378"/>
                  </a:lnTo>
                  <a:lnTo>
                    <a:pt x="152" y="384"/>
                  </a:lnTo>
                  <a:lnTo>
                    <a:pt x="163" y="393"/>
                  </a:lnTo>
                  <a:lnTo>
                    <a:pt x="171" y="402"/>
                  </a:lnTo>
                  <a:lnTo>
                    <a:pt x="174" y="412"/>
                  </a:lnTo>
                  <a:lnTo>
                    <a:pt x="173" y="424"/>
                  </a:lnTo>
                  <a:lnTo>
                    <a:pt x="178" y="428"/>
                  </a:lnTo>
                  <a:lnTo>
                    <a:pt x="186" y="435"/>
                  </a:lnTo>
                  <a:lnTo>
                    <a:pt x="181" y="444"/>
                  </a:lnTo>
                  <a:lnTo>
                    <a:pt x="169" y="448"/>
                  </a:lnTo>
                  <a:lnTo>
                    <a:pt x="169" y="456"/>
                  </a:lnTo>
                  <a:lnTo>
                    <a:pt x="167" y="463"/>
                  </a:lnTo>
                  <a:lnTo>
                    <a:pt x="165" y="473"/>
                  </a:lnTo>
                  <a:lnTo>
                    <a:pt x="169" y="481"/>
                  </a:lnTo>
                  <a:lnTo>
                    <a:pt x="174" y="486"/>
                  </a:lnTo>
                  <a:lnTo>
                    <a:pt x="182" y="492"/>
                  </a:lnTo>
                  <a:lnTo>
                    <a:pt x="190" y="487"/>
                  </a:lnTo>
                  <a:lnTo>
                    <a:pt x="193" y="478"/>
                  </a:lnTo>
                  <a:lnTo>
                    <a:pt x="197" y="470"/>
                  </a:lnTo>
                  <a:lnTo>
                    <a:pt x="205" y="480"/>
                  </a:lnTo>
                  <a:lnTo>
                    <a:pt x="204" y="486"/>
                  </a:lnTo>
                  <a:lnTo>
                    <a:pt x="195" y="494"/>
                  </a:lnTo>
                  <a:lnTo>
                    <a:pt x="200" y="502"/>
                  </a:lnTo>
                  <a:lnTo>
                    <a:pt x="197" y="509"/>
                  </a:lnTo>
                  <a:lnTo>
                    <a:pt x="199" y="519"/>
                  </a:lnTo>
                  <a:lnTo>
                    <a:pt x="204" y="526"/>
                  </a:lnTo>
                  <a:lnTo>
                    <a:pt x="204" y="537"/>
                  </a:lnTo>
                  <a:lnTo>
                    <a:pt x="212" y="541"/>
                  </a:lnTo>
                  <a:lnTo>
                    <a:pt x="223" y="541"/>
                  </a:lnTo>
                  <a:lnTo>
                    <a:pt x="264" y="506"/>
                  </a:lnTo>
                  <a:lnTo>
                    <a:pt x="271" y="495"/>
                  </a:lnTo>
                  <a:lnTo>
                    <a:pt x="276" y="478"/>
                  </a:lnTo>
                  <a:lnTo>
                    <a:pt x="278" y="465"/>
                  </a:lnTo>
                  <a:lnTo>
                    <a:pt x="282" y="453"/>
                  </a:lnTo>
                  <a:lnTo>
                    <a:pt x="288" y="448"/>
                  </a:lnTo>
                  <a:lnTo>
                    <a:pt x="291" y="437"/>
                  </a:lnTo>
                  <a:lnTo>
                    <a:pt x="289" y="425"/>
                  </a:lnTo>
                  <a:lnTo>
                    <a:pt x="288" y="415"/>
                  </a:lnTo>
                  <a:lnTo>
                    <a:pt x="285" y="404"/>
                  </a:lnTo>
                  <a:lnTo>
                    <a:pt x="279" y="395"/>
                  </a:lnTo>
                  <a:lnTo>
                    <a:pt x="280" y="383"/>
                  </a:lnTo>
                  <a:lnTo>
                    <a:pt x="286" y="374"/>
                  </a:lnTo>
                  <a:lnTo>
                    <a:pt x="294" y="368"/>
                  </a:lnTo>
                  <a:lnTo>
                    <a:pt x="294" y="354"/>
                  </a:lnTo>
                  <a:lnTo>
                    <a:pt x="297" y="339"/>
                  </a:lnTo>
                  <a:lnTo>
                    <a:pt x="294" y="319"/>
                  </a:lnTo>
                  <a:lnTo>
                    <a:pt x="288" y="306"/>
                  </a:lnTo>
                  <a:lnTo>
                    <a:pt x="286" y="295"/>
                  </a:lnTo>
                  <a:lnTo>
                    <a:pt x="287" y="287"/>
                  </a:lnTo>
                  <a:lnTo>
                    <a:pt x="288" y="275"/>
                  </a:lnTo>
                  <a:lnTo>
                    <a:pt x="285" y="267"/>
                  </a:lnTo>
                  <a:lnTo>
                    <a:pt x="273" y="258"/>
                  </a:lnTo>
                  <a:lnTo>
                    <a:pt x="276" y="247"/>
                  </a:lnTo>
                  <a:lnTo>
                    <a:pt x="264" y="246"/>
                  </a:lnTo>
                  <a:lnTo>
                    <a:pt x="254" y="245"/>
                  </a:lnTo>
                  <a:lnTo>
                    <a:pt x="247" y="240"/>
                  </a:lnTo>
                  <a:lnTo>
                    <a:pt x="239" y="246"/>
                  </a:lnTo>
                  <a:lnTo>
                    <a:pt x="231" y="245"/>
                  </a:lnTo>
                  <a:lnTo>
                    <a:pt x="226" y="235"/>
                  </a:lnTo>
                  <a:lnTo>
                    <a:pt x="216" y="233"/>
                  </a:lnTo>
                  <a:lnTo>
                    <a:pt x="205" y="224"/>
                  </a:lnTo>
                  <a:lnTo>
                    <a:pt x="201" y="215"/>
                  </a:lnTo>
                  <a:lnTo>
                    <a:pt x="193" y="211"/>
                  </a:lnTo>
                  <a:lnTo>
                    <a:pt x="185" y="215"/>
                  </a:lnTo>
                  <a:lnTo>
                    <a:pt x="180" y="202"/>
                  </a:lnTo>
                  <a:lnTo>
                    <a:pt x="173" y="210"/>
                  </a:lnTo>
                  <a:lnTo>
                    <a:pt x="159" y="205"/>
                  </a:lnTo>
                  <a:lnTo>
                    <a:pt x="152" y="197"/>
                  </a:lnTo>
                  <a:lnTo>
                    <a:pt x="143" y="189"/>
                  </a:lnTo>
                  <a:lnTo>
                    <a:pt x="133" y="183"/>
                  </a:lnTo>
                  <a:lnTo>
                    <a:pt x="122" y="185"/>
                  </a:lnTo>
                  <a:lnTo>
                    <a:pt x="121" y="176"/>
                  </a:lnTo>
                  <a:lnTo>
                    <a:pt x="123" y="166"/>
                  </a:lnTo>
                  <a:lnTo>
                    <a:pt x="124" y="160"/>
                  </a:lnTo>
                  <a:lnTo>
                    <a:pt x="120" y="153"/>
                  </a:lnTo>
                  <a:lnTo>
                    <a:pt x="115" y="142"/>
                  </a:lnTo>
                  <a:lnTo>
                    <a:pt x="126" y="135"/>
                  </a:lnTo>
                  <a:lnTo>
                    <a:pt x="120" y="133"/>
                  </a:lnTo>
                  <a:lnTo>
                    <a:pt x="112" y="128"/>
                  </a:lnTo>
                  <a:lnTo>
                    <a:pt x="110" y="123"/>
                  </a:lnTo>
                  <a:lnTo>
                    <a:pt x="109" y="112"/>
                  </a:lnTo>
                  <a:lnTo>
                    <a:pt x="117" y="107"/>
                  </a:lnTo>
                  <a:lnTo>
                    <a:pt x="118" y="102"/>
                  </a:lnTo>
                  <a:lnTo>
                    <a:pt x="110" y="91"/>
                  </a:lnTo>
                  <a:lnTo>
                    <a:pt x="103" y="87"/>
                  </a:lnTo>
                  <a:lnTo>
                    <a:pt x="93" y="82"/>
                  </a:lnTo>
                  <a:lnTo>
                    <a:pt x="100" y="75"/>
                  </a:lnTo>
                  <a:lnTo>
                    <a:pt x="98" y="65"/>
                  </a:lnTo>
                  <a:lnTo>
                    <a:pt x="90" y="53"/>
                  </a:lnTo>
                  <a:lnTo>
                    <a:pt x="85" y="50"/>
                  </a:lnTo>
                  <a:lnTo>
                    <a:pt x="74" y="48"/>
                  </a:lnTo>
                  <a:lnTo>
                    <a:pt x="64" y="49"/>
                  </a:lnTo>
                  <a:lnTo>
                    <a:pt x="63" y="42"/>
                  </a:lnTo>
                  <a:lnTo>
                    <a:pt x="56" y="37"/>
                  </a:lnTo>
                  <a:lnTo>
                    <a:pt x="47" y="37"/>
                  </a:lnTo>
                  <a:lnTo>
                    <a:pt x="46" y="30"/>
                  </a:lnTo>
                  <a:lnTo>
                    <a:pt x="40" y="25"/>
                  </a:lnTo>
                  <a:lnTo>
                    <a:pt x="41" y="17"/>
                  </a:lnTo>
                  <a:lnTo>
                    <a:pt x="40" y="8"/>
                  </a:lnTo>
                  <a:lnTo>
                    <a:pt x="39" y="0"/>
                  </a:lnTo>
                  <a:lnTo>
                    <a:pt x="27" y="4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567E235A-8BA5-49F3-84B1-9CC9EF6D3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" y="1197"/>
              <a:ext cx="195" cy="270"/>
            </a:xfrm>
            <a:custGeom>
              <a:avLst/>
              <a:gdLst>
                <a:gd name="T0" fmla="*/ 152 w 195"/>
                <a:gd name="T1" fmla="*/ 252 h 270"/>
                <a:gd name="T2" fmla="*/ 137 w 195"/>
                <a:gd name="T3" fmla="*/ 246 h 270"/>
                <a:gd name="T4" fmla="*/ 118 w 195"/>
                <a:gd name="T5" fmla="*/ 243 h 270"/>
                <a:gd name="T6" fmla="*/ 106 w 195"/>
                <a:gd name="T7" fmla="*/ 248 h 270"/>
                <a:gd name="T8" fmla="*/ 84 w 195"/>
                <a:gd name="T9" fmla="*/ 251 h 270"/>
                <a:gd name="T10" fmla="*/ 80 w 195"/>
                <a:gd name="T11" fmla="*/ 238 h 270"/>
                <a:gd name="T12" fmla="*/ 67 w 195"/>
                <a:gd name="T13" fmla="*/ 232 h 270"/>
                <a:gd name="T14" fmla="*/ 63 w 195"/>
                <a:gd name="T15" fmla="*/ 216 h 270"/>
                <a:gd name="T16" fmla="*/ 62 w 195"/>
                <a:gd name="T17" fmla="*/ 197 h 270"/>
                <a:gd name="T18" fmla="*/ 56 w 195"/>
                <a:gd name="T19" fmla="*/ 186 h 270"/>
                <a:gd name="T20" fmla="*/ 77 w 195"/>
                <a:gd name="T21" fmla="*/ 182 h 270"/>
                <a:gd name="T22" fmla="*/ 81 w 195"/>
                <a:gd name="T23" fmla="*/ 164 h 270"/>
                <a:gd name="T24" fmla="*/ 68 w 195"/>
                <a:gd name="T25" fmla="*/ 155 h 270"/>
                <a:gd name="T26" fmla="*/ 54 w 195"/>
                <a:gd name="T27" fmla="*/ 144 h 270"/>
                <a:gd name="T28" fmla="*/ 40 w 195"/>
                <a:gd name="T29" fmla="*/ 137 h 270"/>
                <a:gd name="T30" fmla="*/ 29 w 195"/>
                <a:gd name="T31" fmla="*/ 129 h 270"/>
                <a:gd name="T32" fmla="*/ 11 w 195"/>
                <a:gd name="T33" fmla="*/ 121 h 270"/>
                <a:gd name="T34" fmla="*/ 0 w 195"/>
                <a:gd name="T35" fmla="*/ 108 h 270"/>
                <a:gd name="T36" fmla="*/ 23 w 195"/>
                <a:gd name="T37" fmla="*/ 93 h 270"/>
                <a:gd name="T38" fmla="*/ 19 w 195"/>
                <a:gd name="T39" fmla="*/ 71 h 270"/>
                <a:gd name="T40" fmla="*/ 5 w 195"/>
                <a:gd name="T41" fmla="*/ 57 h 270"/>
                <a:gd name="T42" fmla="*/ 14 w 195"/>
                <a:gd name="T43" fmla="*/ 34 h 270"/>
                <a:gd name="T44" fmla="*/ 16 w 195"/>
                <a:gd name="T45" fmla="*/ 8 h 270"/>
                <a:gd name="T46" fmla="*/ 28 w 195"/>
                <a:gd name="T47" fmla="*/ 3 h 270"/>
                <a:gd name="T48" fmla="*/ 35 w 195"/>
                <a:gd name="T49" fmla="*/ 11 h 270"/>
                <a:gd name="T50" fmla="*/ 35 w 195"/>
                <a:gd name="T51" fmla="*/ 29 h 270"/>
                <a:gd name="T52" fmla="*/ 58 w 195"/>
                <a:gd name="T53" fmla="*/ 35 h 270"/>
                <a:gd name="T54" fmla="*/ 57 w 195"/>
                <a:gd name="T55" fmla="*/ 49 h 270"/>
                <a:gd name="T56" fmla="*/ 52 w 195"/>
                <a:gd name="T57" fmla="*/ 69 h 270"/>
                <a:gd name="T58" fmla="*/ 71 w 195"/>
                <a:gd name="T59" fmla="*/ 61 h 270"/>
                <a:gd name="T60" fmla="*/ 89 w 195"/>
                <a:gd name="T61" fmla="*/ 71 h 270"/>
                <a:gd name="T62" fmla="*/ 102 w 195"/>
                <a:gd name="T63" fmla="*/ 79 h 270"/>
                <a:gd name="T64" fmla="*/ 118 w 195"/>
                <a:gd name="T65" fmla="*/ 90 h 270"/>
                <a:gd name="T66" fmla="*/ 128 w 195"/>
                <a:gd name="T67" fmla="*/ 111 h 270"/>
                <a:gd name="T68" fmla="*/ 132 w 195"/>
                <a:gd name="T69" fmla="*/ 132 h 270"/>
                <a:gd name="T70" fmla="*/ 146 w 195"/>
                <a:gd name="T71" fmla="*/ 151 h 270"/>
                <a:gd name="T72" fmla="*/ 164 w 195"/>
                <a:gd name="T73" fmla="*/ 158 h 270"/>
                <a:gd name="T74" fmla="*/ 180 w 195"/>
                <a:gd name="T75" fmla="*/ 177 h 270"/>
                <a:gd name="T76" fmla="*/ 185 w 195"/>
                <a:gd name="T77" fmla="*/ 194 h 270"/>
                <a:gd name="T78" fmla="*/ 179 w 195"/>
                <a:gd name="T79" fmla="*/ 207 h 270"/>
                <a:gd name="T80" fmla="*/ 185 w 195"/>
                <a:gd name="T81" fmla="*/ 228 h 270"/>
                <a:gd name="T82" fmla="*/ 195 w 195"/>
                <a:gd name="T83" fmla="*/ 241 h 270"/>
                <a:gd name="T84" fmla="*/ 179 w 195"/>
                <a:gd name="T85" fmla="*/ 261 h 270"/>
                <a:gd name="T86" fmla="*/ 167 w 195"/>
                <a:gd name="T87" fmla="*/ 265 h 270"/>
                <a:gd name="T88" fmla="*/ 154 w 195"/>
                <a:gd name="T89" fmla="*/ 26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5" h="270">
                  <a:moveTo>
                    <a:pt x="153" y="259"/>
                  </a:moveTo>
                  <a:lnTo>
                    <a:pt x="152" y="252"/>
                  </a:lnTo>
                  <a:lnTo>
                    <a:pt x="142" y="251"/>
                  </a:lnTo>
                  <a:lnTo>
                    <a:pt x="137" y="246"/>
                  </a:lnTo>
                  <a:lnTo>
                    <a:pt x="129" y="242"/>
                  </a:lnTo>
                  <a:lnTo>
                    <a:pt x="118" y="243"/>
                  </a:lnTo>
                  <a:lnTo>
                    <a:pt x="117" y="235"/>
                  </a:lnTo>
                  <a:lnTo>
                    <a:pt x="106" y="248"/>
                  </a:lnTo>
                  <a:lnTo>
                    <a:pt x="94" y="253"/>
                  </a:lnTo>
                  <a:lnTo>
                    <a:pt x="84" y="251"/>
                  </a:lnTo>
                  <a:lnTo>
                    <a:pt x="86" y="242"/>
                  </a:lnTo>
                  <a:lnTo>
                    <a:pt x="80" y="238"/>
                  </a:lnTo>
                  <a:lnTo>
                    <a:pt x="69" y="238"/>
                  </a:lnTo>
                  <a:lnTo>
                    <a:pt x="67" y="232"/>
                  </a:lnTo>
                  <a:lnTo>
                    <a:pt x="65" y="224"/>
                  </a:lnTo>
                  <a:lnTo>
                    <a:pt x="63" y="216"/>
                  </a:lnTo>
                  <a:lnTo>
                    <a:pt x="61" y="206"/>
                  </a:lnTo>
                  <a:lnTo>
                    <a:pt x="62" y="197"/>
                  </a:lnTo>
                  <a:lnTo>
                    <a:pt x="52" y="193"/>
                  </a:lnTo>
                  <a:lnTo>
                    <a:pt x="56" y="186"/>
                  </a:lnTo>
                  <a:lnTo>
                    <a:pt x="67" y="183"/>
                  </a:lnTo>
                  <a:lnTo>
                    <a:pt x="77" y="182"/>
                  </a:lnTo>
                  <a:lnTo>
                    <a:pt x="82" y="177"/>
                  </a:lnTo>
                  <a:lnTo>
                    <a:pt x="81" y="164"/>
                  </a:lnTo>
                  <a:lnTo>
                    <a:pt x="77" y="156"/>
                  </a:lnTo>
                  <a:lnTo>
                    <a:pt x="68" y="155"/>
                  </a:lnTo>
                  <a:lnTo>
                    <a:pt x="65" y="148"/>
                  </a:lnTo>
                  <a:lnTo>
                    <a:pt x="54" y="144"/>
                  </a:lnTo>
                  <a:lnTo>
                    <a:pt x="47" y="139"/>
                  </a:lnTo>
                  <a:lnTo>
                    <a:pt x="40" y="137"/>
                  </a:lnTo>
                  <a:lnTo>
                    <a:pt x="41" y="131"/>
                  </a:lnTo>
                  <a:lnTo>
                    <a:pt x="29" y="129"/>
                  </a:lnTo>
                  <a:lnTo>
                    <a:pt x="20" y="121"/>
                  </a:lnTo>
                  <a:lnTo>
                    <a:pt x="11" y="121"/>
                  </a:lnTo>
                  <a:lnTo>
                    <a:pt x="3" y="119"/>
                  </a:lnTo>
                  <a:lnTo>
                    <a:pt x="0" y="108"/>
                  </a:lnTo>
                  <a:lnTo>
                    <a:pt x="14" y="100"/>
                  </a:lnTo>
                  <a:lnTo>
                    <a:pt x="23" y="93"/>
                  </a:lnTo>
                  <a:lnTo>
                    <a:pt x="23" y="83"/>
                  </a:lnTo>
                  <a:lnTo>
                    <a:pt x="19" y="71"/>
                  </a:lnTo>
                  <a:lnTo>
                    <a:pt x="13" y="64"/>
                  </a:lnTo>
                  <a:lnTo>
                    <a:pt x="5" y="57"/>
                  </a:lnTo>
                  <a:lnTo>
                    <a:pt x="11" y="47"/>
                  </a:lnTo>
                  <a:lnTo>
                    <a:pt x="14" y="34"/>
                  </a:lnTo>
                  <a:lnTo>
                    <a:pt x="17" y="19"/>
                  </a:lnTo>
                  <a:lnTo>
                    <a:pt x="16" y="8"/>
                  </a:lnTo>
                  <a:lnTo>
                    <a:pt x="22" y="0"/>
                  </a:lnTo>
                  <a:lnTo>
                    <a:pt x="28" y="3"/>
                  </a:lnTo>
                  <a:lnTo>
                    <a:pt x="27" y="13"/>
                  </a:lnTo>
                  <a:lnTo>
                    <a:pt x="35" y="11"/>
                  </a:lnTo>
                  <a:lnTo>
                    <a:pt x="35" y="20"/>
                  </a:lnTo>
                  <a:lnTo>
                    <a:pt x="35" y="29"/>
                  </a:lnTo>
                  <a:lnTo>
                    <a:pt x="44" y="32"/>
                  </a:lnTo>
                  <a:lnTo>
                    <a:pt x="58" y="35"/>
                  </a:lnTo>
                  <a:lnTo>
                    <a:pt x="57" y="40"/>
                  </a:lnTo>
                  <a:lnTo>
                    <a:pt x="57" y="49"/>
                  </a:lnTo>
                  <a:lnTo>
                    <a:pt x="50" y="59"/>
                  </a:lnTo>
                  <a:lnTo>
                    <a:pt x="52" y="69"/>
                  </a:lnTo>
                  <a:lnTo>
                    <a:pt x="61" y="63"/>
                  </a:lnTo>
                  <a:lnTo>
                    <a:pt x="71" y="61"/>
                  </a:lnTo>
                  <a:lnTo>
                    <a:pt x="78" y="64"/>
                  </a:lnTo>
                  <a:lnTo>
                    <a:pt x="89" y="71"/>
                  </a:lnTo>
                  <a:lnTo>
                    <a:pt x="94" y="77"/>
                  </a:lnTo>
                  <a:lnTo>
                    <a:pt x="102" y="79"/>
                  </a:lnTo>
                  <a:lnTo>
                    <a:pt x="110" y="80"/>
                  </a:lnTo>
                  <a:lnTo>
                    <a:pt x="118" y="90"/>
                  </a:lnTo>
                  <a:lnTo>
                    <a:pt x="129" y="98"/>
                  </a:lnTo>
                  <a:lnTo>
                    <a:pt x="128" y="111"/>
                  </a:lnTo>
                  <a:lnTo>
                    <a:pt x="125" y="122"/>
                  </a:lnTo>
                  <a:lnTo>
                    <a:pt x="132" y="132"/>
                  </a:lnTo>
                  <a:lnTo>
                    <a:pt x="140" y="142"/>
                  </a:lnTo>
                  <a:lnTo>
                    <a:pt x="146" y="151"/>
                  </a:lnTo>
                  <a:lnTo>
                    <a:pt x="155" y="156"/>
                  </a:lnTo>
                  <a:lnTo>
                    <a:pt x="164" y="158"/>
                  </a:lnTo>
                  <a:lnTo>
                    <a:pt x="172" y="164"/>
                  </a:lnTo>
                  <a:lnTo>
                    <a:pt x="180" y="177"/>
                  </a:lnTo>
                  <a:lnTo>
                    <a:pt x="185" y="184"/>
                  </a:lnTo>
                  <a:lnTo>
                    <a:pt x="185" y="194"/>
                  </a:lnTo>
                  <a:lnTo>
                    <a:pt x="177" y="196"/>
                  </a:lnTo>
                  <a:lnTo>
                    <a:pt x="179" y="207"/>
                  </a:lnTo>
                  <a:lnTo>
                    <a:pt x="182" y="217"/>
                  </a:lnTo>
                  <a:lnTo>
                    <a:pt x="185" y="228"/>
                  </a:lnTo>
                  <a:lnTo>
                    <a:pt x="189" y="234"/>
                  </a:lnTo>
                  <a:lnTo>
                    <a:pt x="195" y="241"/>
                  </a:lnTo>
                  <a:lnTo>
                    <a:pt x="183" y="252"/>
                  </a:lnTo>
                  <a:lnTo>
                    <a:pt x="179" y="261"/>
                  </a:lnTo>
                  <a:lnTo>
                    <a:pt x="173" y="270"/>
                  </a:lnTo>
                  <a:lnTo>
                    <a:pt x="167" y="265"/>
                  </a:lnTo>
                  <a:lnTo>
                    <a:pt x="160" y="269"/>
                  </a:lnTo>
                  <a:lnTo>
                    <a:pt x="154" y="266"/>
                  </a:lnTo>
                  <a:lnTo>
                    <a:pt x="153" y="259"/>
                  </a:lnTo>
                  <a:close/>
                </a:path>
              </a:pathLst>
            </a:custGeom>
            <a:solidFill>
              <a:srgbClr val="447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613EF50B-2426-4192-8E4C-1828F823D64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" y="1197"/>
              <a:ext cx="195" cy="270"/>
            </a:xfrm>
            <a:custGeom>
              <a:avLst/>
              <a:gdLst>
                <a:gd name="T0" fmla="*/ 152 w 195"/>
                <a:gd name="T1" fmla="*/ 252 h 270"/>
                <a:gd name="T2" fmla="*/ 137 w 195"/>
                <a:gd name="T3" fmla="*/ 246 h 270"/>
                <a:gd name="T4" fmla="*/ 118 w 195"/>
                <a:gd name="T5" fmla="*/ 243 h 270"/>
                <a:gd name="T6" fmla="*/ 106 w 195"/>
                <a:gd name="T7" fmla="*/ 248 h 270"/>
                <a:gd name="T8" fmla="*/ 84 w 195"/>
                <a:gd name="T9" fmla="*/ 251 h 270"/>
                <a:gd name="T10" fmla="*/ 80 w 195"/>
                <a:gd name="T11" fmla="*/ 238 h 270"/>
                <a:gd name="T12" fmla="*/ 67 w 195"/>
                <a:gd name="T13" fmla="*/ 232 h 270"/>
                <a:gd name="T14" fmla="*/ 63 w 195"/>
                <a:gd name="T15" fmla="*/ 216 h 270"/>
                <a:gd name="T16" fmla="*/ 62 w 195"/>
                <a:gd name="T17" fmla="*/ 197 h 270"/>
                <a:gd name="T18" fmla="*/ 56 w 195"/>
                <a:gd name="T19" fmla="*/ 186 h 270"/>
                <a:gd name="T20" fmla="*/ 77 w 195"/>
                <a:gd name="T21" fmla="*/ 182 h 270"/>
                <a:gd name="T22" fmla="*/ 81 w 195"/>
                <a:gd name="T23" fmla="*/ 164 h 270"/>
                <a:gd name="T24" fmla="*/ 68 w 195"/>
                <a:gd name="T25" fmla="*/ 155 h 270"/>
                <a:gd name="T26" fmla="*/ 54 w 195"/>
                <a:gd name="T27" fmla="*/ 144 h 270"/>
                <a:gd name="T28" fmla="*/ 40 w 195"/>
                <a:gd name="T29" fmla="*/ 137 h 270"/>
                <a:gd name="T30" fmla="*/ 29 w 195"/>
                <a:gd name="T31" fmla="*/ 129 h 270"/>
                <a:gd name="T32" fmla="*/ 11 w 195"/>
                <a:gd name="T33" fmla="*/ 121 h 270"/>
                <a:gd name="T34" fmla="*/ 0 w 195"/>
                <a:gd name="T35" fmla="*/ 108 h 270"/>
                <a:gd name="T36" fmla="*/ 23 w 195"/>
                <a:gd name="T37" fmla="*/ 93 h 270"/>
                <a:gd name="T38" fmla="*/ 19 w 195"/>
                <a:gd name="T39" fmla="*/ 71 h 270"/>
                <a:gd name="T40" fmla="*/ 5 w 195"/>
                <a:gd name="T41" fmla="*/ 57 h 270"/>
                <a:gd name="T42" fmla="*/ 14 w 195"/>
                <a:gd name="T43" fmla="*/ 34 h 270"/>
                <a:gd name="T44" fmla="*/ 16 w 195"/>
                <a:gd name="T45" fmla="*/ 8 h 270"/>
                <a:gd name="T46" fmla="*/ 28 w 195"/>
                <a:gd name="T47" fmla="*/ 3 h 270"/>
                <a:gd name="T48" fmla="*/ 35 w 195"/>
                <a:gd name="T49" fmla="*/ 11 h 270"/>
                <a:gd name="T50" fmla="*/ 35 w 195"/>
                <a:gd name="T51" fmla="*/ 29 h 270"/>
                <a:gd name="T52" fmla="*/ 58 w 195"/>
                <a:gd name="T53" fmla="*/ 35 h 270"/>
                <a:gd name="T54" fmla="*/ 57 w 195"/>
                <a:gd name="T55" fmla="*/ 49 h 270"/>
                <a:gd name="T56" fmla="*/ 52 w 195"/>
                <a:gd name="T57" fmla="*/ 69 h 270"/>
                <a:gd name="T58" fmla="*/ 71 w 195"/>
                <a:gd name="T59" fmla="*/ 61 h 270"/>
                <a:gd name="T60" fmla="*/ 89 w 195"/>
                <a:gd name="T61" fmla="*/ 71 h 270"/>
                <a:gd name="T62" fmla="*/ 102 w 195"/>
                <a:gd name="T63" fmla="*/ 79 h 270"/>
                <a:gd name="T64" fmla="*/ 118 w 195"/>
                <a:gd name="T65" fmla="*/ 90 h 270"/>
                <a:gd name="T66" fmla="*/ 128 w 195"/>
                <a:gd name="T67" fmla="*/ 111 h 270"/>
                <a:gd name="T68" fmla="*/ 132 w 195"/>
                <a:gd name="T69" fmla="*/ 132 h 270"/>
                <a:gd name="T70" fmla="*/ 146 w 195"/>
                <a:gd name="T71" fmla="*/ 151 h 270"/>
                <a:gd name="T72" fmla="*/ 164 w 195"/>
                <a:gd name="T73" fmla="*/ 158 h 270"/>
                <a:gd name="T74" fmla="*/ 180 w 195"/>
                <a:gd name="T75" fmla="*/ 177 h 270"/>
                <a:gd name="T76" fmla="*/ 185 w 195"/>
                <a:gd name="T77" fmla="*/ 194 h 270"/>
                <a:gd name="T78" fmla="*/ 179 w 195"/>
                <a:gd name="T79" fmla="*/ 207 h 270"/>
                <a:gd name="T80" fmla="*/ 185 w 195"/>
                <a:gd name="T81" fmla="*/ 228 h 270"/>
                <a:gd name="T82" fmla="*/ 195 w 195"/>
                <a:gd name="T83" fmla="*/ 241 h 270"/>
                <a:gd name="T84" fmla="*/ 179 w 195"/>
                <a:gd name="T85" fmla="*/ 261 h 270"/>
                <a:gd name="T86" fmla="*/ 167 w 195"/>
                <a:gd name="T87" fmla="*/ 265 h 270"/>
                <a:gd name="T88" fmla="*/ 154 w 195"/>
                <a:gd name="T89" fmla="*/ 26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5" h="270">
                  <a:moveTo>
                    <a:pt x="153" y="259"/>
                  </a:moveTo>
                  <a:lnTo>
                    <a:pt x="152" y="252"/>
                  </a:lnTo>
                  <a:lnTo>
                    <a:pt x="142" y="251"/>
                  </a:lnTo>
                  <a:lnTo>
                    <a:pt x="137" y="246"/>
                  </a:lnTo>
                  <a:lnTo>
                    <a:pt x="129" y="242"/>
                  </a:lnTo>
                  <a:lnTo>
                    <a:pt x="118" y="243"/>
                  </a:lnTo>
                  <a:lnTo>
                    <a:pt x="117" y="235"/>
                  </a:lnTo>
                  <a:lnTo>
                    <a:pt x="106" y="248"/>
                  </a:lnTo>
                  <a:lnTo>
                    <a:pt x="94" y="253"/>
                  </a:lnTo>
                  <a:lnTo>
                    <a:pt x="84" y="251"/>
                  </a:lnTo>
                  <a:lnTo>
                    <a:pt x="86" y="242"/>
                  </a:lnTo>
                  <a:lnTo>
                    <a:pt x="80" y="238"/>
                  </a:lnTo>
                  <a:lnTo>
                    <a:pt x="69" y="238"/>
                  </a:lnTo>
                  <a:lnTo>
                    <a:pt x="67" y="232"/>
                  </a:lnTo>
                  <a:lnTo>
                    <a:pt x="65" y="224"/>
                  </a:lnTo>
                  <a:lnTo>
                    <a:pt x="63" y="216"/>
                  </a:lnTo>
                  <a:lnTo>
                    <a:pt x="61" y="206"/>
                  </a:lnTo>
                  <a:lnTo>
                    <a:pt x="62" y="197"/>
                  </a:lnTo>
                  <a:lnTo>
                    <a:pt x="52" y="193"/>
                  </a:lnTo>
                  <a:lnTo>
                    <a:pt x="56" y="186"/>
                  </a:lnTo>
                  <a:lnTo>
                    <a:pt x="67" y="183"/>
                  </a:lnTo>
                  <a:lnTo>
                    <a:pt x="77" y="182"/>
                  </a:lnTo>
                  <a:lnTo>
                    <a:pt x="82" y="177"/>
                  </a:lnTo>
                  <a:lnTo>
                    <a:pt x="81" y="164"/>
                  </a:lnTo>
                  <a:lnTo>
                    <a:pt x="77" y="156"/>
                  </a:lnTo>
                  <a:lnTo>
                    <a:pt x="68" y="155"/>
                  </a:lnTo>
                  <a:lnTo>
                    <a:pt x="65" y="148"/>
                  </a:lnTo>
                  <a:lnTo>
                    <a:pt x="54" y="144"/>
                  </a:lnTo>
                  <a:lnTo>
                    <a:pt x="47" y="139"/>
                  </a:lnTo>
                  <a:lnTo>
                    <a:pt x="40" y="137"/>
                  </a:lnTo>
                  <a:lnTo>
                    <a:pt x="41" y="131"/>
                  </a:lnTo>
                  <a:lnTo>
                    <a:pt x="29" y="129"/>
                  </a:lnTo>
                  <a:lnTo>
                    <a:pt x="20" y="121"/>
                  </a:lnTo>
                  <a:lnTo>
                    <a:pt x="11" y="121"/>
                  </a:lnTo>
                  <a:lnTo>
                    <a:pt x="3" y="119"/>
                  </a:lnTo>
                  <a:lnTo>
                    <a:pt x="0" y="108"/>
                  </a:lnTo>
                  <a:lnTo>
                    <a:pt x="14" y="100"/>
                  </a:lnTo>
                  <a:lnTo>
                    <a:pt x="23" y="93"/>
                  </a:lnTo>
                  <a:lnTo>
                    <a:pt x="23" y="83"/>
                  </a:lnTo>
                  <a:lnTo>
                    <a:pt x="19" y="71"/>
                  </a:lnTo>
                  <a:lnTo>
                    <a:pt x="13" y="64"/>
                  </a:lnTo>
                  <a:lnTo>
                    <a:pt x="5" y="57"/>
                  </a:lnTo>
                  <a:lnTo>
                    <a:pt x="11" y="47"/>
                  </a:lnTo>
                  <a:lnTo>
                    <a:pt x="14" y="34"/>
                  </a:lnTo>
                  <a:lnTo>
                    <a:pt x="17" y="19"/>
                  </a:lnTo>
                  <a:lnTo>
                    <a:pt x="16" y="8"/>
                  </a:lnTo>
                  <a:lnTo>
                    <a:pt x="22" y="0"/>
                  </a:lnTo>
                  <a:lnTo>
                    <a:pt x="28" y="3"/>
                  </a:lnTo>
                  <a:lnTo>
                    <a:pt x="27" y="13"/>
                  </a:lnTo>
                  <a:lnTo>
                    <a:pt x="35" y="11"/>
                  </a:lnTo>
                  <a:lnTo>
                    <a:pt x="35" y="20"/>
                  </a:lnTo>
                  <a:lnTo>
                    <a:pt x="35" y="29"/>
                  </a:lnTo>
                  <a:lnTo>
                    <a:pt x="44" y="32"/>
                  </a:lnTo>
                  <a:lnTo>
                    <a:pt x="58" y="35"/>
                  </a:lnTo>
                  <a:lnTo>
                    <a:pt x="57" y="40"/>
                  </a:lnTo>
                  <a:lnTo>
                    <a:pt x="57" y="49"/>
                  </a:lnTo>
                  <a:lnTo>
                    <a:pt x="50" y="59"/>
                  </a:lnTo>
                  <a:lnTo>
                    <a:pt x="52" y="69"/>
                  </a:lnTo>
                  <a:lnTo>
                    <a:pt x="61" y="63"/>
                  </a:lnTo>
                  <a:lnTo>
                    <a:pt x="71" y="61"/>
                  </a:lnTo>
                  <a:lnTo>
                    <a:pt x="78" y="64"/>
                  </a:lnTo>
                  <a:lnTo>
                    <a:pt x="89" y="71"/>
                  </a:lnTo>
                  <a:lnTo>
                    <a:pt x="94" y="77"/>
                  </a:lnTo>
                  <a:lnTo>
                    <a:pt x="102" y="79"/>
                  </a:lnTo>
                  <a:lnTo>
                    <a:pt x="110" y="80"/>
                  </a:lnTo>
                  <a:lnTo>
                    <a:pt x="118" y="90"/>
                  </a:lnTo>
                  <a:lnTo>
                    <a:pt x="129" y="98"/>
                  </a:lnTo>
                  <a:lnTo>
                    <a:pt x="128" y="111"/>
                  </a:lnTo>
                  <a:lnTo>
                    <a:pt x="125" y="122"/>
                  </a:lnTo>
                  <a:lnTo>
                    <a:pt x="132" y="132"/>
                  </a:lnTo>
                  <a:lnTo>
                    <a:pt x="140" y="142"/>
                  </a:lnTo>
                  <a:lnTo>
                    <a:pt x="146" y="151"/>
                  </a:lnTo>
                  <a:lnTo>
                    <a:pt x="155" y="156"/>
                  </a:lnTo>
                  <a:lnTo>
                    <a:pt x="164" y="158"/>
                  </a:lnTo>
                  <a:lnTo>
                    <a:pt x="172" y="164"/>
                  </a:lnTo>
                  <a:lnTo>
                    <a:pt x="180" y="177"/>
                  </a:lnTo>
                  <a:lnTo>
                    <a:pt x="185" y="184"/>
                  </a:lnTo>
                  <a:lnTo>
                    <a:pt x="185" y="194"/>
                  </a:lnTo>
                  <a:lnTo>
                    <a:pt x="177" y="196"/>
                  </a:lnTo>
                  <a:lnTo>
                    <a:pt x="179" y="207"/>
                  </a:lnTo>
                  <a:lnTo>
                    <a:pt x="182" y="217"/>
                  </a:lnTo>
                  <a:lnTo>
                    <a:pt x="185" y="228"/>
                  </a:lnTo>
                  <a:lnTo>
                    <a:pt x="189" y="234"/>
                  </a:lnTo>
                  <a:lnTo>
                    <a:pt x="195" y="241"/>
                  </a:lnTo>
                  <a:lnTo>
                    <a:pt x="183" y="252"/>
                  </a:lnTo>
                  <a:lnTo>
                    <a:pt x="179" y="261"/>
                  </a:lnTo>
                  <a:lnTo>
                    <a:pt x="173" y="270"/>
                  </a:lnTo>
                  <a:lnTo>
                    <a:pt x="167" y="265"/>
                  </a:lnTo>
                  <a:lnTo>
                    <a:pt x="160" y="269"/>
                  </a:lnTo>
                  <a:lnTo>
                    <a:pt x="154" y="266"/>
                  </a:lnTo>
                  <a:lnTo>
                    <a:pt x="153" y="259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id="{6C00A206-4C2E-4A22-A542-2D0D13CD0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840"/>
              <a:ext cx="205" cy="142"/>
            </a:xfrm>
            <a:custGeom>
              <a:avLst/>
              <a:gdLst>
                <a:gd name="T0" fmla="*/ 195 w 205"/>
                <a:gd name="T1" fmla="*/ 0 h 142"/>
                <a:gd name="T2" fmla="*/ 180 w 205"/>
                <a:gd name="T3" fmla="*/ 10 h 142"/>
                <a:gd name="T4" fmla="*/ 158 w 205"/>
                <a:gd name="T5" fmla="*/ 4 h 142"/>
                <a:gd name="T6" fmla="*/ 137 w 205"/>
                <a:gd name="T7" fmla="*/ 15 h 142"/>
                <a:gd name="T8" fmla="*/ 127 w 205"/>
                <a:gd name="T9" fmla="*/ 25 h 142"/>
                <a:gd name="T10" fmla="*/ 105 w 205"/>
                <a:gd name="T11" fmla="*/ 39 h 142"/>
                <a:gd name="T12" fmla="*/ 90 w 205"/>
                <a:gd name="T13" fmla="*/ 43 h 142"/>
                <a:gd name="T14" fmla="*/ 76 w 205"/>
                <a:gd name="T15" fmla="*/ 13 h 142"/>
                <a:gd name="T16" fmla="*/ 59 w 205"/>
                <a:gd name="T17" fmla="*/ 20 h 142"/>
                <a:gd name="T18" fmla="*/ 41 w 205"/>
                <a:gd name="T19" fmla="*/ 10 h 142"/>
                <a:gd name="T20" fmla="*/ 46 w 205"/>
                <a:gd name="T21" fmla="*/ 31 h 142"/>
                <a:gd name="T22" fmla="*/ 30 w 205"/>
                <a:gd name="T23" fmla="*/ 37 h 142"/>
                <a:gd name="T24" fmla="*/ 15 w 205"/>
                <a:gd name="T25" fmla="*/ 43 h 142"/>
                <a:gd name="T26" fmla="*/ 0 w 205"/>
                <a:gd name="T27" fmla="*/ 48 h 142"/>
                <a:gd name="T28" fmla="*/ 0 w 205"/>
                <a:gd name="T29" fmla="*/ 64 h 142"/>
                <a:gd name="T30" fmla="*/ 17 w 205"/>
                <a:gd name="T31" fmla="*/ 60 h 142"/>
                <a:gd name="T32" fmla="*/ 18 w 205"/>
                <a:gd name="T33" fmla="*/ 71 h 142"/>
                <a:gd name="T34" fmla="*/ 11 w 205"/>
                <a:gd name="T35" fmla="*/ 84 h 142"/>
                <a:gd name="T36" fmla="*/ 8 w 205"/>
                <a:gd name="T37" fmla="*/ 100 h 142"/>
                <a:gd name="T38" fmla="*/ 18 w 205"/>
                <a:gd name="T39" fmla="*/ 111 h 142"/>
                <a:gd name="T40" fmla="*/ 28 w 205"/>
                <a:gd name="T41" fmla="*/ 121 h 142"/>
                <a:gd name="T42" fmla="*/ 49 w 205"/>
                <a:gd name="T43" fmla="*/ 125 h 142"/>
                <a:gd name="T44" fmla="*/ 63 w 205"/>
                <a:gd name="T45" fmla="*/ 130 h 142"/>
                <a:gd name="T46" fmla="*/ 74 w 205"/>
                <a:gd name="T47" fmla="*/ 138 h 142"/>
                <a:gd name="T48" fmla="*/ 94 w 205"/>
                <a:gd name="T49" fmla="*/ 137 h 142"/>
                <a:gd name="T50" fmla="*/ 92 w 205"/>
                <a:gd name="T51" fmla="*/ 123 h 142"/>
                <a:gd name="T52" fmla="*/ 90 w 205"/>
                <a:gd name="T53" fmla="*/ 102 h 142"/>
                <a:gd name="T54" fmla="*/ 108 w 205"/>
                <a:gd name="T55" fmla="*/ 95 h 142"/>
                <a:gd name="T56" fmla="*/ 125 w 205"/>
                <a:gd name="T57" fmla="*/ 88 h 142"/>
                <a:gd name="T58" fmla="*/ 139 w 205"/>
                <a:gd name="T59" fmla="*/ 73 h 142"/>
                <a:gd name="T60" fmla="*/ 163 w 205"/>
                <a:gd name="T61" fmla="*/ 71 h 142"/>
                <a:gd name="T62" fmla="*/ 188 w 205"/>
                <a:gd name="T63" fmla="*/ 66 h 142"/>
                <a:gd name="T64" fmla="*/ 196 w 205"/>
                <a:gd name="T65" fmla="*/ 43 h 142"/>
                <a:gd name="T66" fmla="*/ 200 w 205"/>
                <a:gd name="T67" fmla="*/ 22 h 142"/>
                <a:gd name="T68" fmla="*/ 205 w 205"/>
                <a:gd name="T69" fmla="*/ 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5" h="142">
                  <a:moveTo>
                    <a:pt x="205" y="2"/>
                  </a:moveTo>
                  <a:lnTo>
                    <a:pt x="195" y="0"/>
                  </a:lnTo>
                  <a:lnTo>
                    <a:pt x="187" y="2"/>
                  </a:lnTo>
                  <a:lnTo>
                    <a:pt x="180" y="10"/>
                  </a:lnTo>
                  <a:lnTo>
                    <a:pt x="169" y="7"/>
                  </a:lnTo>
                  <a:lnTo>
                    <a:pt x="158" y="4"/>
                  </a:lnTo>
                  <a:lnTo>
                    <a:pt x="149" y="8"/>
                  </a:lnTo>
                  <a:lnTo>
                    <a:pt x="137" y="15"/>
                  </a:lnTo>
                  <a:lnTo>
                    <a:pt x="127" y="18"/>
                  </a:lnTo>
                  <a:lnTo>
                    <a:pt x="127" y="25"/>
                  </a:lnTo>
                  <a:lnTo>
                    <a:pt x="121" y="34"/>
                  </a:lnTo>
                  <a:lnTo>
                    <a:pt x="105" y="39"/>
                  </a:lnTo>
                  <a:lnTo>
                    <a:pt x="100" y="48"/>
                  </a:lnTo>
                  <a:lnTo>
                    <a:pt x="90" y="43"/>
                  </a:lnTo>
                  <a:lnTo>
                    <a:pt x="83" y="23"/>
                  </a:lnTo>
                  <a:lnTo>
                    <a:pt x="76" y="13"/>
                  </a:lnTo>
                  <a:lnTo>
                    <a:pt x="69" y="16"/>
                  </a:lnTo>
                  <a:lnTo>
                    <a:pt x="59" y="20"/>
                  </a:lnTo>
                  <a:lnTo>
                    <a:pt x="53" y="13"/>
                  </a:lnTo>
                  <a:lnTo>
                    <a:pt x="41" y="10"/>
                  </a:lnTo>
                  <a:lnTo>
                    <a:pt x="43" y="20"/>
                  </a:lnTo>
                  <a:lnTo>
                    <a:pt x="46" y="31"/>
                  </a:lnTo>
                  <a:lnTo>
                    <a:pt x="39" y="39"/>
                  </a:lnTo>
                  <a:lnTo>
                    <a:pt x="30" y="37"/>
                  </a:lnTo>
                  <a:lnTo>
                    <a:pt x="22" y="38"/>
                  </a:lnTo>
                  <a:lnTo>
                    <a:pt x="15" y="43"/>
                  </a:lnTo>
                  <a:lnTo>
                    <a:pt x="10" y="46"/>
                  </a:lnTo>
                  <a:lnTo>
                    <a:pt x="0" y="48"/>
                  </a:lnTo>
                  <a:lnTo>
                    <a:pt x="5" y="57"/>
                  </a:lnTo>
                  <a:lnTo>
                    <a:pt x="0" y="64"/>
                  </a:lnTo>
                  <a:lnTo>
                    <a:pt x="8" y="65"/>
                  </a:lnTo>
                  <a:lnTo>
                    <a:pt x="17" y="60"/>
                  </a:lnTo>
                  <a:lnTo>
                    <a:pt x="27" y="63"/>
                  </a:lnTo>
                  <a:lnTo>
                    <a:pt x="18" y="71"/>
                  </a:lnTo>
                  <a:lnTo>
                    <a:pt x="12" y="77"/>
                  </a:lnTo>
                  <a:lnTo>
                    <a:pt x="11" y="84"/>
                  </a:lnTo>
                  <a:lnTo>
                    <a:pt x="11" y="91"/>
                  </a:lnTo>
                  <a:lnTo>
                    <a:pt x="8" y="100"/>
                  </a:lnTo>
                  <a:lnTo>
                    <a:pt x="8" y="110"/>
                  </a:lnTo>
                  <a:lnTo>
                    <a:pt x="18" y="111"/>
                  </a:lnTo>
                  <a:lnTo>
                    <a:pt x="25" y="113"/>
                  </a:lnTo>
                  <a:lnTo>
                    <a:pt x="28" y="121"/>
                  </a:lnTo>
                  <a:lnTo>
                    <a:pt x="32" y="127"/>
                  </a:lnTo>
                  <a:lnTo>
                    <a:pt x="49" y="125"/>
                  </a:lnTo>
                  <a:lnTo>
                    <a:pt x="60" y="125"/>
                  </a:lnTo>
                  <a:lnTo>
                    <a:pt x="63" y="130"/>
                  </a:lnTo>
                  <a:lnTo>
                    <a:pt x="74" y="131"/>
                  </a:lnTo>
                  <a:lnTo>
                    <a:pt x="74" y="138"/>
                  </a:lnTo>
                  <a:lnTo>
                    <a:pt x="85" y="142"/>
                  </a:lnTo>
                  <a:lnTo>
                    <a:pt x="94" y="137"/>
                  </a:lnTo>
                  <a:lnTo>
                    <a:pt x="92" y="130"/>
                  </a:lnTo>
                  <a:lnTo>
                    <a:pt x="92" y="123"/>
                  </a:lnTo>
                  <a:lnTo>
                    <a:pt x="95" y="113"/>
                  </a:lnTo>
                  <a:lnTo>
                    <a:pt x="90" y="102"/>
                  </a:lnTo>
                  <a:lnTo>
                    <a:pt x="96" y="95"/>
                  </a:lnTo>
                  <a:lnTo>
                    <a:pt x="108" y="95"/>
                  </a:lnTo>
                  <a:lnTo>
                    <a:pt x="114" y="91"/>
                  </a:lnTo>
                  <a:lnTo>
                    <a:pt x="125" y="88"/>
                  </a:lnTo>
                  <a:lnTo>
                    <a:pt x="133" y="79"/>
                  </a:lnTo>
                  <a:lnTo>
                    <a:pt x="139" y="73"/>
                  </a:lnTo>
                  <a:lnTo>
                    <a:pt x="149" y="70"/>
                  </a:lnTo>
                  <a:lnTo>
                    <a:pt x="163" y="71"/>
                  </a:lnTo>
                  <a:lnTo>
                    <a:pt x="179" y="71"/>
                  </a:lnTo>
                  <a:lnTo>
                    <a:pt x="188" y="66"/>
                  </a:lnTo>
                  <a:lnTo>
                    <a:pt x="196" y="55"/>
                  </a:lnTo>
                  <a:lnTo>
                    <a:pt x="196" y="43"/>
                  </a:lnTo>
                  <a:lnTo>
                    <a:pt x="201" y="35"/>
                  </a:lnTo>
                  <a:lnTo>
                    <a:pt x="200" y="22"/>
                  </a:lnTo>
                  <a:lnTo>
                    <a:pt x="201" y="13"/>
                  </a:lnTo>
                  <a:lnTo>
                    <a:pt x="205" y="2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27172DCD-3E01-4FAD-B875-5605EE2A8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840"/>
              <a:ext cx="205" cy="142"/>
            </a:xfrm>
            <a:custGeom>
              <a:avLst/>
              <a:gdLst>
                <a:gd name="T0" fmla="*/ 195 w 205"/>
                <a:gd name="T1" fmla="*/ 0 h 142"/>
                <a:gd name="T2" fmla="*/ 180 w 205"/>
                <a:gd name="T3" fmla="*/ 10 h 142"/>
                <a:gd name="T4" fmla="*/ 158 w 205"/>
                <a:gd name="T5" fmla="*/ 4 h 142"/>
                <a:gd name="T6" fmla="*/ 137 w 205"/>
                <a:gd name="T7" fmla="*/ 15 h 142"/>
                <a:gd name="T8" fmla="*/ 127 w 205"/>
                <a:gd name="T9" fmla="*/ 25 h 142"/>
                <a:gd name="T10" fmla="*/ 105 w 205"/>
                <a:gd name="T11" fmla="*/ 39 h 142"/>
                <a:gd name="T12" fmla="*/ 90 w 205"/>
                <a:gd name="T13" fmla="*/ 43 h 142"/>
                <a:gd name="T14" fmla="*/ 76 w 205"/>
                <a:gd name="T15" fmla="*/ 13 h 142"/>
                <a:gd name="T16" fmla="*/ 59 w 205"/>
                <a:gd name="T17" fmla="*/ 20 h 142"/>
                <a:gd name="T18" fmla="*/ 41 w 205"/>
                <a:gd name="T19" fmla="*/ 10 h 142"/>
                <a:gd name="T20" fmla="*/ 46 w 205"/>
                <a:gd name="T21" fmla="*/ 31 h 142"/>
                <a:gd name="T22" fmla="*/ 30 w 205"/>
                <a:gd name="T23" fmla="*/ 37 h 142"/>
                <a:gd name="T24" fmla="*/ 15 w 205"/>
                <a:gd name="T25" fmla="*/ 43 h 142"/>
                <a:gd name="T26" fmla="*/ 0 w 205"/>
                <a:gd name="T27" fmla="*/ 48 h 142"/>
                <a:gd name="T28" fmla="*/ 0 w 205"/>
                <a:gd name="T29" fmla="*/ 64 h 142"/>
                <a:gd name="T30" fmla="*/ 17 w 205"/>
                <a:gd name="T31" fmla="*/ 60 h 142"/>
                <a:gd name="T32" fmla="*/ 18 w 205"/>
                <a:gd name="T33" fmla="*/ 71 h 142"/>
                <a:gd name="T34" fmla="*/ 11 w 205"/>
                <a:gd name="T35" fmla="*/ 84 h 142"/>
                <a:gd name="T36" fmla="*/ 8 w 205"/>
                <a:gd name="T37" fmla="*/ 100 h 142"/>
                <a:gd name="T38" fmla="*/ 18 w 205"/>
                <a:gd name="T39" fmla="*/ 111 h 142"/>
                <a:gd name="T40" fmla="*/ 28 w 205"/>
                <a:gd name="T41" fmla="*/ 121 h 142"/>
                <a:gd name="T42" fmla="*/ 49 w 205"/>
                <a:gd name="T43" fmla="*/ 125 h 142"/>
                <a:gd name="T44" fmla="*/ 63 w 205"/>
                <a:gd name="T45" fmla="*/ 130 h 142"/>
                <a:gd name="T46" fmla="*/ 74 w 205"/>
                <a:gd name="T47" fmla="*/ 138 h 142"/>
                <a:gd name="T48" fmla="*/ 94 w 205"/>
                <a:gd name="T49" fmla="*/ 137 h 142"/>
                <a:gd name="T50" fmla="*/ 92 w 205"/>
                <a:gd name="T51" fmla="*/ 123 h 142"/>
                <a:gd name="T52" fmla="*/ 90 w 205"/>
                <a:gd name="T53" fmla="*/ 102 h 142"/>
                <a:gd name="T54" fmla="*/ 108 w 205"/>
                <a:gd name="T55" fmla="*/ 95 h 142"/>
                <a:gd name="T56" fmla="*/ 125 w 205"/>
                <a:gd name="T57" fmla="*/ 88 h 142"/>
                <a:gd name="T58" fmla="*/ 139 w 205"/>
                <a:gd name="T59" fmla="*/ 73 h 142"/>
                <a:gd name="T60" fmla="*/ 163 w 205"/>
                <a:gd name="T61" fmla="*/ 71 h 142"/>
                <a:gd name="T62" fmla="*/ 188 w 205"/>
                <a:gd name="T63" fmla="*/ 66 h 142"/>
                <a:gd name="T64" fmla="*/ 196 w 205"/>
                <a:gd name="T65" fmla="*/ 43 h 142"/>
                <a:gd name="T66" fmla="*/ 200 w 205"/>
                <a:gd name="T67" fmla="*/ 22 h 142"/>
                <a:gd name="T68" fmla="*/ 205 w 205"/>
                <a:gd name="T69" fmla="*/ 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5" h="142">
                  <a:moveTo>
                    <a:pt x="205" y="2"/>
                  </a:moveTo>
                  <a:lnTo>
                    <a:pt x="195" y="0"/>
                  </a:lnTo>
                  <a:lnTo>
                    <a:pt x="187" y="2"/>
                  </a:lnTo>
                  <a:lnTo>
                    <a:pt x="180" y="10"/>
                  </a:lnTo>
                  <a:lnTo>
                    <a:pt x="169" y="7"/>
                  </a:lnTo>
                  <a:lnTo>
                    <a:pt x="158" y="4"/>
                  </a:lnTo>
                  <a:lnTo>
                    <a:pt x="149" y="8"/>
                  </a:lnTo>
                  <a:lnTo>
                    <a:pt x="137" y="15"/>
                  </a:lnTo>
                  <a:lnTo>
                    <a:pt x="127" y="18"/>
                  </a:lnTo>
                  <a:lnTo>
                    <a:pt x="127" y="25"/>
                  </a:lnTo>
                  <a:lnTo>
                    <a:pt x="121" y="34"/>
                  </a:lnTo>
                  <a:lnTo>
                    <a:pt x="105" y="39"/>
                  </a:lnTo>
                  <a:lnTo>
                    <a:pt x="100" y="48"/>
                  </a:lnTo>
                  <a:lnTo>
                    <a:pt x="90" y="43"/>
                  </a:lnTo>
                  <a:lnTo>
                    <a:pt x="83" y="23"/>
                  </a:lnTo>
                  <a:lnTo>
                    <a:pt x="76" y="13"/>
                  </a:lnTo>
                  <a:lnTo>
                    <a:pt x="69" y="16"/>
                  </a:lnTo>
                  <a:lnTo>
                    <a:pt x="59" y="20"/>
                  </a:lnTo>
                  <a:lnTo>
                    <a:pt x="53" y="13"/>
                  </a:lnTo>
                  <a:lnTo>
                    <a:pt x="41" y="10"/>
                  </a:lnTo>
                  <a:lnTo>
                    <a:pt x="43" y="20"/>
                  </a:lnTo>
                  <a:lnTo>
                    <a:pt x="46" y="31"/>
                  </a:lnTo>
                  <a:lnTo>
                    <a:pt x="39" y="39"/>
                  </a:lnTo>
                  <a:lnTo>
                    <a:pt x="30" y="37"/>
                  </a:lnTo>
                  <a:lnTo>
                    <a:pt x="22" y="38"/>
                  </a:lnTo>
                  <a:lnTo>
                    <a:pt x="15" y="43"/>
                  </a:lnTo>
                  <a:lnTo>
                    <a:pt x="10" y="46"/>
                  </a:lnTo>
                  <a:lnTo>
                    <a:pt x="0" y="48"/>
                  </a:lnTo>
                  <a:lnTo>
                    <a:pt x="5" y="57"/>
                  </a:lnTo>
                  <a:lnTo>
                    <a:pt x="0" y="64"/>
                  </a:lnTo>
                  <a:lnTo>
                    <a:pt x="8" y="65"/>
                  </a:lnTo>
                  <a:lnTo>
                    <a:pt x="17" y="60"/>
                  </a:lnTo>
                  <a:lnTo>
                    <a:pt x="27" y="63"/>
                  </a:lnTo>
                  <a:lnTo>
                    <a:pt x="18" y="71"/>
                  </a:lnTo>
                  <a:lnTo>
                    <a:pt x="12" y="77"/>
                  </a:lnTo>
                  <a:lnTo>
                    <a:pt x="11" y="84"/>
                  </a:lnTo>
                  <a:lnTo>
                    <a:pt x="11" y="91"/>
                  </a:lnTo>
                  <a:lnTo>
                    <a:pt x="8" y="100"/>
                  </a:lnTo>
                  <a:lnTo>
                    <a:pt x="8" y="110"/>
                  </a:lnTo>
                  <a:lnTo>
                    <a:pt x="18" y="111"/>
                  </a:lnTo>
                  <a:lnTo>
                    <a:pt x="25" y="113"/>
                  </a:lnTo>
                  <a:lnTo>
                    <a:pt x="28" y="121"/>
                  </a:lnTo>
                  <a:lnTo>
                    <a:pt x="32" y="127"/>
                  </a:lnTo>
                  <a:lnTo>
                    <a:pt x="49" y="125"/>
                  </a:lnTo>
                  <a:lnTo>
                    <a:pt x="60" y="125"/>
                  </a:lnTo>
                  <a:lnTo>
                    <a:pt x="63" y="130"/>
                  </a:lnTo>
                  <a:lnTo>
                    <a:pt x="74" y="131"/>
                  </a:lnTo>
                  <a:lnTo>
                    <a:pt x="74" y="138"/>
                  </a:lnTo>
                  <a:lnTo>
                    <a:pt x="85" y="142"/>
                  </a:lnTo>
                  <a:lnTo>
                    <a:pt x="94" y="137"/>
                  </a:lnTo>
                  <a:lnTo>
                    <a:pt x="92" y="130"/>
                  </a:lnTo>
                  <a:lnTo>
                    <a:pt x="92" y="123"/>
                  </a:lnTo>
                  <a:lnTo>
                    <a:pt x="95" y="113"/>
                  </a:lnTo>
                  <a:lnTo>
                    <a:pt x="90" y="102"/>
                  </a:lnTo>
                  <a:lnTo>
                    <a:pt x="96" y="95"/>
                  </a:lnTo>
                  <a:lnTo>
                    <a:pt x="108" y="95"/>
                  </a:lnTo>
                  <a:lnTo>
                    <a:pt x="114" y="91"/>
                  </a:lnTo>
                  <a:lnTo>
                    <a:pt x="125" y="88"/>
                  </a:lnTo>
                  <a:lnTo>
                    <a:pt x="133" y="79"/>
                  </a:lnTo>
                  <a:lnTo>
                    <a:pt x="139" y="73"/>
                  </a:lnTo>
                  <a:lnTo>
                    <a:pt x="149" y="70"/>
                  </a:lnTo>
                  <a:lnTo>
                    <a:pt x="163" y="71"/>
                  </a:lnTo>
                  <a:lnTo>
                    <a:pt x="179" y="71"/>
                  </a:lnTo>
                  <a:lnTo>
                    <a:pt x="188" y="66"/>
                  </a:lnTo>
                  <a:lnTo>
                    <a:pt x="196" y="55"/>
                  </a:lnTo>
                  <a:lnTo>
                    <a:pt x="196" y="43"/>
                  </a:lnTo>
                  <a:lnTo>
                    <a:pt x="201" y="35"/>
                  </a:lnTo>
                  <a:lnTo>
                    <a:pt x="200" y="22"/>
                  </a:lnTo>
                  <a:lnTo>
                    <a:pt x="201" y="13"/>
                  </a:lnTo>
                  <a:lnTo>
                    <a:pt x="205" y="2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171C6B6D-5CDC-4AD4-B832-E21E0133BA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" y="1426"/>
              <a:ext cx="317" cy="694"/>
            </a:xfrm>
            <a:custGeom>
              <a:avLst/>
              <a:gdLst>
                <a:gd name="T0" fmla="*/ 302 w 317"/>
                <a:gd name="T1" fmla="*/ 438 h 694"/>
                <a:gd name="T2" fmla="*/ 297 w 317"/>
                <a:gd name="T3" fmla="*/ 399 h 694"/>
                <a:gd name="T4" fmla="*/ 274 w 317"/>
                <a:gd name="T5" fmla="*/ 376 h 694"/>
                <a:gd name="T6" fmla="*/ 238 w 317"/>
                <a:gd name="T7" fmla="*/ 361 h 694"/>
                <a:gd name="T8" fmla="*/ 195 w 317"/>
                <a:gd name="T9" fmla="*/ 350 h 694"/>
                <a:gd name="T10" fmla="*/ 189 w 317"/>
                <a:gd name="T11" fmla="*/ 318 h 694"/>
                <a:gd name="T12" fmla="*/ 163 w 317"/>
                <a:gd name="T13" fmla="*/ 294 h 694"/>
                <a:gd name="T14" fmla="*/ 172 w 317"/>
                <a:gd name="T15" fmla="*/ 262 h 694"/>
                <a:gd name="T16" fmla="*/ 194 w 317"/>
                <a:gd name="T17" fmla="*/ 235 h 694"/>
                <a:gd name="T18" fmla="*/ 229 w 317"/>
                <a:gd name="T19" fmla="*/ 220 h 694"/>
                <a:gd name="T20" fmla="*/ 200 w 317"/>
                <a:gd name="T21" fmla="*/ 190 h 694"/>
                <a:gd name="T22" fmla="*/ 130 w 317"/>
                <a:gd name="T23" fmla="*/ 113 h 694"/>
                <a:gd name="T24" fmla="*/ 153 w 317"/>
                <a:gd name="T25" fmla="*/ 85 h 694"/>
                <a:gd name="T26" fmla="*/ 145 w 317"/>
                <a:gd name="T27" fmla="*/ 51 h 694"/>
                <a:gd name="T28" fmla="*/ 105 w 317"/>
                <a:gd name="T29" fmla="*/ 24 h 694"/>
                <a:gd name="T30" fmla="*/ 69 w 317"/>
                <a:gd name="T31" fmla="*/ 15 h 694"/>
                <a:gd name="T32" fmla="*/ 86 w 317"/>
                <a:gd name="T33" fmla="*/ 51 h 694"/>
                <a:gd name="T34" fmla="*/ 108 w 317"/>
                <a:gd name="T35" fmla="*/ 83 h 694"/>
                <a:gd name="T36" fmla="*/ 102 w 317"/>
                <a:gd name="T37" fmla="*/ 113 h 694"/>
                <a:gd name="T38" fmla="*/ 39 w 317"/>
                <a:gd name="T39" fmla="*/ 153 h 694"/>
                <a:gd name="T40" fmla="*/ 25 w 317"/>
                <a:gd name="T41" fmla="*/ 175 h 694"/>
                <a:gd name="T42" fmla="*/ 9 w 317"/>
                <a:gd name="T43" fmla="*/ 219 h 694"/>
                <a:gd name="T44" fmla="*/ 42 w 317"/>
                <a:gd name="T45" fmla="*/ 253 h 694"/>
                <a:gd name="T46" fmla="*/ 53 w 317"/>
                <a:gd name="T47" fmla="*/ 274 h 694"/>
                <a:gd name="T48" fmla="*/ 80 w 317"/>
                <a:gd name="T49" fmla="*/ 289 h 694"/>
                <a:gd name="T50" fmla="*/ 92 w 317"/>
                <a:gd name="T51" fmla="*/ 320 h 694"/>
                <a:gd name="T52" fmla="*/ 76 w 317"/>
                <a:gd name="T53" fmla="*/ 348 h 694"/>
                <a:gd name="T54" fmla="*/ 91 w 317"/>
                <a:gd name="T55" fmla="*/ 383 h 694"/>
                <a:gd name="T56" fmla="*/ 103 w 317"/>
                <a:gd name="T57" fmla="*/ 414 h 694"/>
                <a:gd name="T58" fmla="*/ 95 w 317"/>
                <a:gd name="T59" fmla="*/ 452 h 694"/>
                <a:gd name="T60" fmla="*/ 69 w 317"/>
                <a:gd name="T61" fmla="*/ 461 h 694"/>
                <a:gd name="T62" fmla="*/ 85 w 317"/>
                <a:gd name="T63" fmla="*/ 484 h 694"/>
                <a:gd name="T64" fmla="*/ 94 w 317"/>
                <a:gd name="T65" fmla="*/ 521 h 694"/>
                <a:gd name="T66" fmla="*/ 103 w 317"/>
                <a:gd name="T67" fmla="*/ 565 h 694"/>
                <a:gd name="T68" fmla="*/ 107 w 317"/>
                <a:gd name="T69" fmla="*/ 609 h 694"/>
                <a:gd name="T70" fmla="*/ 90 w 317"/>
                <a:gd name="T71" fmla="*/ 647 h 694"/>
                <a:gd name="T72" fmla="*/ 75 w 317"/>
                <a:gd name="T73" fmla="*/ 670 h 694"/>
                <a:gd name="T74" fmla="*/ 105 w 317"/>
                <a:gd name="T75" fmla="*/ 664 h 694"/>
                <a:gd name="T76" fmla="*/ 137 w 317"/>
                <a:gd name="T77" fmla="*/ 665 h 694"/>
                <a:gd name="T78" fmla="*/ 183 w 317"/>
                <a:gd name="T79" fmla="*/ 683 h 694"/>
                <a:gd name="T80" fmla="*/ 232 w 317"/>
                <a:gd name="T81" fmla="*/ 686 h 694"/>
                <a:gd name="T82" fmla="*/ 251 w 317"/>
                <a:gd name="T83" fmla="*/ 659 h 694"/>
                <a:gd name="T84" fmla="*/ 229 w 317"/>
                <a:gd name="T85" fmla="*/ 624 h 694"/>
                <a:gd name="T86" fmla="*/ 262 w 317"/>
                <a:gd name="T87" fmla="*/ 577 h 694"/>
                <a:gd name="T88" fmla="*/ 296 w 317"/>
                <a:gd name="T89" fmla="*/ 545 h 694"/>
                <a:gd name="T90" fmla="*/ 276 w 317"/>
                <a:gd name="T91" fmla="*/ 512 h 694"/>
                <a:gd name="T92" fmla="*/ 280 w 317"/>
                <a:gd name="T93" fmla="*/ 482 h 694"/>
                <a:gd name="T94" fmla="*/ 317 w 317"/>
                <a:gd name="T95" fmla="*/ 468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7" h="694">
                  <a:moveTo>
                    <a:pt x="313" y="457"/>
                  </a:moveTo>
                  <a:lnTo>
                    <a:pt x="312" y="451"/>
                  </a:lnTo>
                  <a:lnTo>
                    <a:pt x="307" y="446"/>
                  </a:lnTo>
                  <a:lnTo>
                    <a:pt x="302" y="438"/>
                  </a:lnTo>
                  <a:lnTo>
                    <a:pt x="303" y="428"/>
                  </a:lnTo>
                  <a:lnTo>
                    <a:pt x="298" y="421"/>
                  </a:lnTo>
                  <a:lnTo>
                    <a:pt x="292" y="412"/>
                  </a:lnTo>
                  <a:lnTo>
                    <a:pt x="297" y="399"/>
                  </a:lnTo>
                  <a:lnTo>
                    <a:pt x="298" y="391"/>
                  </a:lnTo>
                  <a:lnTo>
                    <a:pt x="295" y="384"/>
                  </a:lnTo>
                  <a:lnTo>
                    <a:pt x="280" y="385"/>
                  </a:lnTo>
                  <a:lnTo>
                    <a:pt x="274" y="376"/>
                  </a:lnTo>
                  <a:lnTo>
                    <a:pt x="275" y="363"/>
                  </a:lnTo>
                  <a:lnTo>
                    <a:pt x="272" y="356"/>
                  </a:lnTo>
                  <a:lnTo>
                    <a:pt x="257" y="357"/>
                  </a:lnTo>
                  <a:lnTo>
                    <a:pt x="238" y="361"/>
                  </a:lnTo>
                  <a:lnTo>
                    <a:pt x="224" y="363"/>
                  </a:lnTo>
                  <a:lnTo>
                    <a:pt x="210" y="365"/>
                  </a:lnTo>
                  <a:lnTo>
                    <a:pt x="199" y="360"/>
                  </a:lnTo>
                  <a:lnTo>
                    <a:pt x="195" y="350"/>
                  </a:lnTo>
                  <a:lnTo>
                    <a:pt x="187" y="345"/>
                  </a:lnTo>
                  <a:lnTo>
                    <a:pt x="186" y="337"/>
                  </a:lnTo>
                  <a:lnTo>
                    <a:pt x="186" y="327"/>
                  </a:lnTo>
                  <a:lnTo>
                    <a:pt x="189" y="318"/>
                  </a:lnTo>
                  <a:lnTo>
                    <a:pt x="182" y="313"/>
                  </a:lnTo>
                  <a:lnTo>
                    <a:pt x="173" y="306"/>
                  </a:lnTo>
                  <a:lnTo>
                    <a:pt x="170" y="297"/>
                  </a:lnTo>
                  <a:lnTo>
                    <a:pt x="163" y="294"/>
                  </a:lnTo>
                  <a:lnTo>
                    <a:pt x="161" y="284"/>
                  </a:lnTo>
                  <a:lnTo>
                    <a:pt x="154" y="277"/>
                  </a:lnTo>
                  <a:lnTo>
                    <a:pt x="154" y="270"/>
                  </a:lnTo>
                  <a:lnTo>
                    <a:pt x="172" y="262"/>
                  </a:lnTo>
                  <a:lnTo>
                    <a:pt x="180" y="258"/>
                  </a:lnTo>
                  <a:lnTo>
                    <a:pt x="180" y="248"/>
                  </a:lnTo>
                  <a:lnTo>
                    <a:pt x="178" y="238"/>
                  </a:lnTo>
                  <a:lnTo>
                    <a:pt x="194" y="235"/>
                  </a:lnTo>
                  <a:lnTo>
                    <a:pt x="205" y="237"/>
                  </a:lnTo>
                  <a:lnTo>
                    <a:pt x="215" y="239"/>
                  </a:lnTo>
                  <a:lnTo>
                    <a:pt x="224" y="238"/>
                  </a:lnTo>
                  <a:lnTo>
                    <a:pt x="229" y="220"/>
                  </a:lnTo>
                  <a:lnTo>
                    <a:pt x="227" y="208"/>
                  </a:lnTo>
                  <a:lnTo>
                    <a:pt x="222" y="199"/>
                  </a:lnTo>
                  <a:lnTo>
                    <a:pt x="212" y="192"/>
                  </a:lnTo>
                  <a:lnTo>
                    <a:pt x="200" y="190"/>
                  </a:lnTo>
                  <a:lnTo>
                    <a:pt x="174" y="160"/>
                  </a:lnTo>
                  <a:lnTo>
                    <a:pt x="132" y="129"/>
                  </a:lnTo>
                  <a:lnTo>
                    <a:pt x="124" y="118"/>
                  </a:lnTo>
                  <a:lnTo>
                    <a:pt x="130" y="113"/>
                  </a:lnTo>
                  <a:lnTo>
                    <a:pt x="138" y="107"/>
                  </a:lnTo>
                  <a:lnTo>
                    <a:pt x="141" y="97"/>
                  </a:lnTo>
                  <a:lnTo>
                    <a:pt x="142" y="88"/>
                  </a:lnTo>
                  <a:lnTo>
                    <a:pt x="153" y="85"/>
                  </a:lnTo>
                  <a:lnTo>
                    <a:pt x="151" y="76"/>
                  </a:lnTo>
                  <a:lnTo>
                    <a:pt x="148" y="68"/>
                  </a:lnTo>
                  <a:lnTo>
                    <a:pt x="150" y="60"/>
                  </a:lnTo>
                  <a:lnTo>
                    <a:pt x="145" y="51"/>
                  </a:lnTo>
                  <a:lnTo>
                    <a:pt x="133" y="51"/>
                  </a:lnTo>
                  <a:lnTo>
                    <a:pt x="127" y="45"/>
                  </a:lnTo>
                  <a:lnTo>
                    <a:pt x="119" y="28"/>
                  </a:lnTo>
                  <a:lnTo>
                    <a:pt x="105" y="24"/>
                  </a:lnTo>
                  <a:lnTo>
                    <a:pt x="95" y="20"/>
                  </a:lnTo>
                  <a:lnTo>
                    <a:pt x="94" y="11"/>
                  </a:lnTo>
                  <a:lnTo>
                    <a:pt x="80" y="0"/>
                  </a:lnTo>
                  <a:lnTo>
                    <a:pt x="69" y="15"/>
                  </a:lnTo>
                  <a:lnTo>
                    <a:pt x="70" y="23"/>
                  </a:lnTo>
                  <a:lnTo>
                    <a:pt x="78" y="31"/>
                  </a:lnTo>
                  <a:lnTo>
                    <a:pt x="86" y="40"/>
                  </a:lnTo>
                  <a:lnTo>
                    <a:pt x="86" y="51"/>
                  </a:lnTo>
                  <a:lnTo>
                    <a:pt x="93" y="58"/>
                  </a:lnTo>
                  <a:lnTo>
                    <a:pt x="102" y="67"/>
                  </a:lnTo>
                  <a:lnTo>
                    <a:pt x="104" y="76"/>
                  </a:lnTo>
                  <a:lnTo>
                    <a:pt x="108" y="83"/>
                  </a:lnTo>
                  <a:lnTo>
                    <a:pt x="111" y="95"/>
                  </a:lnTo>
                  <a:lnTo>
                    <a:pt x="110" y="101"/>
                  </a:lnTo>
                  <a:lnTo>
                    <a:pt x="110" y="108"/>
                  </a:lnTo>
                  <a:lnTo>
                    <a:pt x="102" y="113"/>
                  </a:lnTo>
                  <a:lnTo>
                    <a:pt x="92" y="117"/>
                  </a:lnTo>
                  <a:lnTo>
                    <a:pt x="55" y="166"/>
                  </a:lnTo>
                  <a:lnTo>
                    <a:pt x="47" y="164"/>
                  </a:lnTo>
                  <a:lnTo>
                    <a:pt x="39" y="153"/>
                  </a:lnTo>
                  <a:lnTo>
                    <a:pt x="31" y="146"/>
                  </a:lnTo>
                  <a:lnTo>
                    <a:pt x="24" y="149"/>
                  </a:lnTo>
                  <a:lnTo>
                    <a:pt x="25" y="164"/>
                  </a:lnTo>
                  <a:lnTo>
                    <a:pt x="25" y="175"/>
                  </a:lnTo>
                  <a:lnTo>
                    <a:pt x="13" y="181"/>
                  </a:lnTo>
                  <a:lnTo>
                    <a:pt x="11" y="185"/>
                  </a:lnTo>
                  <a:lnTo>
                    <a:pt x="0" y="212"/>
                  </a:lnTo>
                  <a:lnTo>
                    <a:pt x="9" y="219"/>
                  </a:lnTo>
                  <a:lnTo>
                    <a:pt x="19" y="228"/>
                  </a:lnTo>
                  <a:lnTo>
                    <a:pt x="32" y="236"/>
                  </a:lnTo>
                  <a:lnTo>
                    <a:pt x="39" y="244"/>
                  </a:lnTo>
                  <a:lnTo>
                    <a:pt x="42" y="253"/>
                  </a:lnTo>
                  <a:lnTo>
                    <a:pt x="36" y="258"/>
                  </a:lnTo>
                  <a:lnTo>
                    <a:pt x="32" y="266"/>
                  </a:lnTo>
                  <a:lnTo>
                    <a:pt x="42" y="271"/>
                  </a:lnTo>
                  <a:lnTo>
                    <a:pt x="53" y="274"/>
                  </a:lnTo>
                  <a:lnTo>
                    <a:pt x="61" y="283"/>
                  </a:lnTo>
                  <a:lnTo>
                    <a:pt x="63" y="295"/>
                  </a:lnTo>
                  <a:lnTo>
                    <a:pt x="70" y="289"/>
                  </a:lnTo>
                  <a:lnTo>
                    <a:pt x="80" y="289"/>
                  </a:lnTo>
                  <a:lnTo>
                    <a:pt x="87" y="295"/>
                  </a:lnTo>
                  <a:lnTo>
                    <a:pt x="86" y="301"/>
                  </a:lnTo>
                  <a:lnTo>
                    <a:pt x="92" y="309"/>
                  </a:lnTo>
                  <a:lnTo>
                    <a:pt x="92" y="320"/>
                  </a:lnTo>
                  <a:lnTo>
                    <a:pt x="92" y="332"/>
                  </a:lnTo>
                  <a:lnTo>
                    <a:pt x="87" y="337"/>
                  </a:lnTo>
                  <a:lnTo>
                    <a:pt x="86" y="345"/>
                  </a:lnTo>
                  <a:lnTo>
                    <a:pt x="76" y="348"/>
                  </a:lnTo>
                  <a:lnTo>
                    <a:pt x="75" y="359"/>
                  </a:lnTo>
                  <a:lnTo>
                    <a:pt x="74" y="370"/>
                  </a:lnTo>
                  <a:lnTo>
                    <a:pt x="84" y="374"/>
                  </a:lnTo>
                  <a:lnTo>
                    <a:pt x="91" y="383"/>
                  </a:lnTo>
                  <a:lnTo>
                    <a:pt x="95" y="390"/>
                  </a:lnTo>
                  <a:lnTo>
                    <a:pt x="95" y="398"/>
                  </a:lnTo>
                  <a:lnTo>
                    <a:pt x="101" y="406"/>
                  </a:lnTo>
                  <a:lnTo>
                    <a:pt x="103" y="414"/>
                  </a:lnTo>
                  <a:lnTo>
                    <a:pt x="111" y="422"/>
                  </a:lnTo>
                  <a:lnTo>
                    <a:pt x="110" y="433"/>
                  </a:lnTo>
                  <a:lnTo>
                    <a:pt x="103" y="443"/>
                  </a:lnTo>
                  <a:lnTo>
                    <a:pt x="95" y="452"/>
                  </a:lnTo>
                  <a:lnTo>
                    <a:pt x="91" y="458"/>
                  </a:lnTo>
                  <a:lnTo>
                    <a:pt x="80" y="457"/>
                  </a:lnTo>
                  <a:lnTo>
                    <a:pt x="70" y="452"/>
                  </a:lnTo>
                  <a:lnTo>
                    <a:pt x="69" y="461"/>
                  </a:lnTo>
                  <a:lnTo>
                    <a:pt x="64" y="469"/>
                  </a:lnTo>
                  <a:lnTo>
                    <a:pt x="71" y="472"/>
                  </a:lnTo>
                  <a:lnTo>
                    <a:pt x="85" y="475"/>
                  </a:lnTo>
                  <a:lnTo>
                    <a:pt x="85" y="484"/>
                  </a:lnTo>
                  <a:lnTo>
                    <a:pt x="90" y="492"/>
                  </a:lnTo>
                  <a:lnTo>
                    <a:pt x="90" y="502"/>
                  </a:lnTo>
                  <a:lnTo>
                    <a:pt x="90" y="511"/>
                  </a:lnTo>
                  <a:lnTo>
                    <a:pt x="94" y="521"/>
                  </a:lnTo>
                  <a:lnTo>
                    <a:pt x="93" y="534"/>
                  </a:lnTo>
                  <a:lnTo>
                    <a:pt x="98" y="543"/>
                  </a:lnTo>
                  <a:lnTo>
                    <a:pt x="94" y="552"/>
                  </a:lnTo>
                  <a:lnTo>
                    <a:pt x="103" y="565"/>
                  </a:lnTo>
                  <a:lnTo>
                    <a:pt x="101" y="576"/>
                  </a:lnTo>
                  <a:lnTo>
                    <a:pt x="107" y="583"/>
                  </a:lnTo>
                  <a:lnTo>
                    <a:pt x="107" y="596"/>
                  </a:lnTo>
                  <a:lnTo>
                    <a:pt x="107" y="609"/>
                  </a:lnTo>
                  <a:lnTo>
                    <a:pt x="107" y="621"/>
                  </a:lnTo>
                  <a:lnTo>
                    <a:pt x="105" y="629"/>
                  </a:lnTo>
                  <a:lnTo>
                    <a:pt x="98" y="639"/>
                  </a:lnTo>
                  <a:lnTo>
                    <a:pt x="90" y="647"/>
                  </a:lnTo>
                  <a:lnTo>
                    <a:pt x="76" y="654"/>
                  </a:lnTo>
                  <a:lnTo>
                    <a:pt x="74" y="663"/>
                  </a:lnTo>
                  <a:lnTo>
                    <a:pt x="87" y="663"/>
                  </a:lnTo>
                  <a:lnTo>
                    <a:pt x="75" y="670"/>
                  </a:lnTo>
                  <a:lnTo>
                    <a:pt x="76" y="676"/>
                  </a:lnTo>
                  <a:lnTo>
                    <a:pt x="88" y="671"/>
                  </a:lnTo>
                  <a:lnTo>
                    <a:pt x="98" y="675"/>
                  </a:lnTo>
                  <a:lnTo>
                    <a:pt x="105" y="664"/>
                  </a:lnTo>
                  <a:lnTo>
                    <a:pt x="109" y="669"/>
                  </a:lnTo>
                  <a:lnTo>
                    <a:pt x="115" y="662"/>
                  </a:lnTo>
                  <a:lnTo>
                    <a:pt x="127" y="662"/>
                  </a:lnTo>
                  <a:lnTo>
                    <a:pt x="137" y="665"/>
                  </a:lnTo>
                  <a:lnTo>
                    <a:pt x="149" y="672"/>
                  </a:lnTo>
                  <a:lnTo>
                    <a:pt x="155" y="677"/>
                  </a:lnTo>
                  <a:lnTo>
                    <a:pt x="171" y="674"/>
                  </a:lnTo>
                  <a:lnTo>
                    <a:pt x="183" y="683"/>
                  </a:lnTo>
                  <a:lnTo>
                    <a:pt x="193" y="689"/>
                  </a:lnTo>
                  <a:lnTo>
                    <a:pt x="207" y="694"/>
                  </a:lnTo>
                  <a:lnTo>
                    <a:pt x="213" y="686"/>
                  </a:lnTo>
                  <a:lnTo>
                    <a:pt x="232" y="686"/>
                  </a:lnTo>
                  <a:lnTo>
                    <a:pt x="236" y="675"/>
                  </a:lnTo>
                  <a:lnTo>
                    <a:pt x="245" y="671"/>
                  </a:lnTo>
                  <a:lnTo>
                    <a:pt x="253" y="669"/>
                  </a:lnTo>
                  <a:lnTo>
                    <a:pt x="251" y="659"/>
                  </a:lnTo>
                  <a:lnTo>
                    <a:pt x="239" y="654"/>
                  </a:lnTo>
                  <a:lnTo>
                    <a:pt x="236" y="647"/>
                  </a:lnTo>
                  <a:lnTo>
                    <a:pt x="232" y="638"/>
                  </a:lnTo>
                  <a:lnTo>
                    <a:pt x="229" y="624"/>
                  </a:lnTo>
                  <a:lnTo>
                    <a:pt x="239" y="624"/>
                  </a:lnTo>
                  <a:lnTo>
                    <a:pt x="241" y="615"/>
                  </a:lnTo>
                  <a:lnTo>
                    <a:pt x="253" y="592"/>
                  </a:lnTo>
                  <a:lnTo>
                    <a:pt x="262" y="577"/>
                  </a:lnTo>
                  <a:lnTo>
                    <a:pt x="266" y="571"/>
                  </a:lnTo>
                  <a:lnTo>
                    <a:pt x="276" y="568"/>
                  </a:lnTo>
                  <a:lnTo>
                    <a:pt x="288" y="556"/>
                  </a:lnTo>
                  <a:lnTo>
                    <a:pt x="296" y="545"/>
                  </a:lnTo>
                  <a:lnTo>
                    <a:pt x="294" y="538"/>
                  </a:lnTo>
                  <a:lnTo>
                    <a:pt x="284" y="532"/>
                  </a:lnTo>
                  <a:lnTo>
                    <a:pt x="283" y="522"/>
                  </a:lnTo>
                  <a:lnTo>
                    <a:pt x="276" y="512"/>
                  </a:lnTo>
                  <a:lnTo>
                    <a:pt x="269" y="507"/>
                  </a:lnTo>
                  <a:lnTo>
                    <a:pt x="263" y="497"/>
                  </a:lnTo>
                  <a:lnTo>
                    <a:pt x="274" y="491"/>
                  </a:lnTo>
                  <a:lnTo>
                    <a:pt x="280" y="482"/>
                  </a:lnTo>
                  <a:lnTo>
                    <a:pt x="288" y="475"/>
                  </a:lnTo>
                  <a:lnTo>
                    <a:pt x="295" y="475"/>
                  </a:lnTo>
                  <a:lnTo>
                    <a:pt x="302" y="468"/>
                  </a:lnTo>
                  <a:lnTo>
                    <a:pt x="317" y="468"/>
                  </a:lnTo>
                  <a:lnTo>
                    <a:pt x="313" y="457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EA628F96-C1AA-4D08-B681-A11C9945B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" y="1426"/>
              <a:ext cx="317" cy="694"/>
            </a:xfrm>
            <a:custGeom>
              <a:avLst/>
              <a:gdLst>
                <a:gd name="T0" fmla="*/ 302 w 317"/>
                <a:gd name="T1" fmla="*/ 438 h 694"/>
                <a:gd name="T2" fmla="*/ 297 w 317"/>
                <a:gd name="T3" fmla="*/ 399 h 694"/>
                <a:gd name="T4" fmla="*/ 274 w 317"/>
                <a:gd name="T5" fmla="*/ 376 h 694"/>
                <a:gd name="T6" fmla="*/ 238 w 317"/>
                <a:gd name="T7" fmla="*/ 361 h 694"/>
                <a:gd name="T8" fmla="*/ 195 w 317"/>
                <a:gd name="T9" fmla="*/ 350 h 694"/>
                <a:gd name="T10" fmla="*/ 189 w 317"/>
                <a:gd name="T11" fmla="*/ 318 h 694"/>
                <a:gd name="T12" fmla="*/ 163 w 317"/>
                <a:gd name="T13" fmla="*/ 294 h 694"/>
                <a:gd name="T14" fmla="*/ 172 w 317"/>
                <a:gd name="T15" fmla="*/ 262 h 694"/>
                <a:gd name="T16" fmla="*/ 194 w 317"/>
                <a:gd name="T17" fmla="*/ 235 h 694"/>
                <a:gd name="T18" fmla="*/ 229 w 317"/>
                <a:gd name="T19" fmla="*/ 220 h 694"/>
                <a:gd name="T20" fmla="*/ 200 w 317"/>
                <a:gd name="T21" fmla="*/ 190 h 694"/>
                <a:gd name="T22" fmla="*/ 130 w 317"/>
                <a:gd name="T23" fmla="*/ 113 h 694"/>
                <a:gd name="T24" fmla="*/ 153 w 317"/>
                <a:gd name="T25" fmla="*/ 85 h 694"/>
                <a:gd name="T26" fmla="*/ 145 w 317"/>
                <a:gd name="T27" fmla="*/ 51 h 694"/>
                <a:gd name="T28" fmla="*/ 105 w 317"/>
                <a:gd name="T29" fmla="*/ 24 h 694"/>
                <a:gd name="T30" fmla="*/ 69 w 317"/>
                <a:gd name="T31" fmla="*/ 15 h 694"/>
                <a:gd name="T32" fmla="*/ 86 w 317"/>
                <a:gd name="T33" fmla="*/ 51 h 694"/>
                <a:gd name="T34" fmla="*/ 108 w 317"/>
                <a:gd name="T35" fmla="*/ 83 h 694"/>
                <a:gd name="T36" fmla="*/ 102 w 317"/>
                <a:gd name="T37" fmla="*/ 113 h 694"/>
                <a:gd name="T38" fmla="*/ 39 w 317"/>
                <a:gd name="T39" fmla="*/ 153 h 694"/>
                <a:gd name="T40" fmla="*/ 25 w 317"/>
                <a:gd name="T41" fmla="*/ 175 h 694"/>
                <a:gd name="T42" fmla="*/ 9 w 317"/>
                <a:gd name="T43" fmla="*/ 219 h 694"/>
                <a:gd name="T44" fmla="*/ 42 w 317"/>
                <a:gd name="T45" fmla="*/ 253 h 694"/>
                <a:gd name="T46" fmla="*/ 53 w 317"/>
                <a:gd name="T47" fmla="*/ 274 h 694"/>
                <a:gd name="T48" fmla="*/ 80 w 317"/>
                <a:gd name="T49" fmla="*/ 289 h 694"/>
                <a:gd name="T50" fmla="*/ 92 w 317"/>
                <a:gd name="T51" fmla="*/ 320 h 694"/>
                <a:gd name="T52" fmla="*/ 76 w 317"/>
                <a:gd name="T53" fmla="*/ 348 h 694"/>
                <a:gd name="T54" fmla="*/ 91 w 317"/>
                <a:gd name="T55" fmla="*/ 383 h 694"/>
                <a:gd name="T56" fmla="*/ 103 w 317"/>
                <a:gd name="T57" fmla="*/ 414 h 694"/>
                <a:gd name="T58" fmla="*/ 95 w 317"/>
                <a:gd name="T59" fmla="*/ 452 h 694"/>
                <a:gd name="T60" fmla="*/ 69 w 317"/>
                <a:gd name="T61" fmla="*/ 461 h 694"/>
                <a:gd name="T62" fmla="*/ 85 w 317"/>
                <a:gd name="T63" fmla="*/ 484 h 694"/>
                <a:gd name="T64" fmla="*/ 94 w 317"/>
                <a:gd name="T65" fmla="*/ 521 h 694"/>
                <a:gd name="T66" fmla="*/ 103 w 317"/>
                <a:gd name="T67" fmla="*/ 565 h 694"/>
                <a:gd name="T68" fmla="*/ 107 w 317"/>
                <a:gd name="T69" fmla="*/ 609 h 694"/>
                <a:gd name="T70" fmla="*/ 90 w 317"/>
                <a:gd name="T71" fmla="*/ 647 h 694"/>
                <a:gd name="T72" fmla="*/ 75 w 317"/>
                <a:gd name="T73" fmla="*/ 670 h 694"/>
                <a:gd name="T74" fmla="*/ 105 w 317"/>
                <a:gd name="T75" fmla="*/ 664 h 694"/>
                <a:gd name="T76" fmla="*/ 137 w 317"/>
                <a:gd name="T77" fmla="*/ 665 h 694"/>
                <a:gd name="T78" fmla="*/ 183 w 317"/>
                <a:gd name="T79" fmla="*/ 683 h 694"/>
                <a:gd name="T80" fmla="*/ 232 w 317"/>
                <a:gd name="T81" fmla="*/ 686 h 694"/>
                <a:gd name="T82" fmla="*/ 251 w 317"/>
                <a:gd name="T83" fmla="*/ 659 h 694"/>
                <a:gd name="T84" fmla="*/ 229 w 317"/>
                <a:gd name="T85" fmla="*/ 624 h 694"/>
                <a:gd name="T86" fmla="*/ 262 w 317"/>
                <a:gd name="T87" fmla="*/ 577 h 694"/>
                <a:gd name="T88" fmla="*/ 296 w 317"/>
                <a:gd name="T89" fmla="*/ 545 h 694"/>
                <a:gd name="T90" fmla="*/ 276 w 317"/>
                <a:gd name="T91" fmla="*/ 512 h 694"/>
                <a:gd name="T92" fmla="*/ 280 w 317"/>
                <a:gd name="T93" fmla="*/ 482 h 694"/>
                <a:gd name="T94" fmla="*/ 317 w 317"/>
                <a:gd name="T95" fmla="*/ 468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7" h="694">
                  <a:moveTo>
                    <a:pt x="313" y="457"/>
                  </a:moveTo>
                  <a:lnTo>
                    <a:pt x="312" y="451"/>
                  </a:lnTo>
                  <a:lnTo>
                    <a:pt x="307" y="446"/>
                  </a:lnTo>
                  <a:lnTo>
                    <a:pt x="302" y="438"/>
                  </a:lnTo>
                  <a:lnTo>
                    <a:pt x="303" y="428"/>
                  </a:lnTo>
                  <a:lnTo>
                    <a:pt x="298" y="421"/>
                  </a:lnTo>
                  <a:lnTo>
                    <a:pt x="292" y="412"/>
                  </a:lnTo>
                  <a:lnTo>
                    <a:pt x="297" y="399"/>
                  </a:lnTo>
                  <a:lnTo>
                    <a:pt x="298" y="391"/>
                  </a:lnTo>
                  <a:lnTo>
                    <a:pt x="295" y="384"/>
                  </a:lnTo>
                  <a:lnTo>
                    <a:pt x="280" y="385"/>
                  </a:lnTo>
                  <a:lnTo>
                    <a:pt x="274" y="376"/>
                  </a:lnTo>
                  <a:lnTo>
                    <a:pt x="275" y="363"/>
                  </a:lnTo>
                  <a:lnTo>
                    <a:pt x="272" y="356"/>
                  </a:lnTo>
                  <a:lnTo>
                    <a:pt x="257" y="357"/>
                  </a:lnTo>
                  <a:lnTo>
                    <a:pt x="238" y="361"/>
                  </a:lnTo>
                  <a:lnTo>
                    <a:pt x="224" y="363"/>
                  </a:lnTo>
                  <a:lnTo>
                    <a:pt x="210" y="365"/>
                  </a:lnTo>
                  <a:lnTo>
                    <a:pt x="199" y="360"/>
                  </a:lnTo>
                  <a:lnTo>
                    <a:pt x="195" y="350"/>
                  </a:lnTo>
                  <a:lnTo>
                    <a:pt x="187" y="345"/>
                  </a:lnTo>
                  <a:lnTo>
                    <a:pt x="186" y="337"/>
                  </a:lnTo>
                  <a:lnTo>
                    <a:pt x="186" y="327"/>
                  </a:lnTo>
                  <a:lnTo>
                    <a:pt x="189" y="318"/>
                  </a:lnTo>
                  <a:lnTo>
                    <a:pt x="182" y="313"/>
                  </a:lnTo>
                  <a:lnTo>
                    <a:pt x="173" y="306"/>
                  </a:lnTo>
                  <a:lnTo>
                    <a:pt x="170" y="297"/>
                  </a:lnTo>
                  <a:lnTo>
                    <a:pt x="163" y="294"/>
                  </a:lnTo>
                  <a:lnTo>
                    <a:pt x="161" y="284"/>
                  </a:lnTo>
                  <a:lnTo>
                    <a:pt x="154" y="277"/>
                  </a:lnTo>
                  <a:lnTo>
                    <a:pt x="154" y="270"/>
                  </a:lnTo>
                  <a:lnTo>
                    <a:pt x="172" y="262"/>
                  </a:lnTo>
                  <a:lnTo>
                    <a:pt x="180" y="258"/>
                  </a:lnTo>
                  <a:lnTo>
                    <a:pt x="180" y="248"/>
                  </a:lnTo>
                  <a:lnTo>
                    <a:pt x="178" y="238"/>
                  </a:lnTo>
                  <a:lnTo>
                    <a:pt x="194" y="235"/>
                  </a:lnTo>
                  <a:lnTo>
                    <a:pt x="205" y="237"/>
                  </a:lnTo>
                  <a:lnTo>
                    <a:pt x="215" y="239"/>
                  </a:lnTo>
                  <a:lnTo>
                    <a:pt x="224" y="238"/>
                  </a:lnTo>
                  <a:lnTo>
                    <a:pt x="229" y="220"/>
                  </a:lnTo>
                  <a:lnTo>
                    <a:pt x="227" y="208"/>
                  </a:lnTo>
                  <a:lnTo>
                    <a:pt x="222" y="199"/>
                  </a:lnTo>
                  <a:lnTo>
                    <a:pt x="212" y="192"/>
                  </a:lnTo>
                  <a:lnTo>
                    <a:pt x="200" y="190"/>
                  </a:lnTo>
                  <a:lnTo>
                    <a:pt x="174" y="160"/>
                  </a:lnTo>
                  <a:lnTo>
                    <a:pt x="132" y="129"/>
                  </a:lnTo>
                  <a:lnTo>
                    <a:pt x="124" y="118"/>
                  </a:lnTo>
                  <a:lnTo>
                    <a:pt x="130" y="113"/>
                  </a:lnTo>
                  <a:lnTo>
                    <a:pt x="138" y="107"/>
                  </a:lnTo>
                  <a:lnTo>
                    <a:pt x="141" y="97"/>
                  </a:lnTo>
                  <a:lnTo>
                    <a:pt x="142" y="88"/>
                  </a:lnTo>
                  <a:lnTo>
                    <a:pt x="153" y="85"/>
                  </a:lnTo>
                  <a:lnTo>
                    <a:pt x="151" y="76"/>
                  </a:lnTo>
                  <a:lnTo>
                    <a:pt x="148" y="68"/>
                  </a:lnTo>
                  <a:lnTo>
                    <a:pt x="150" y="60"/>
                  </a:lnTo>
                  <a:lnTo>
                    <a:pt x="145" y="51"/>
                  </a:lnTo>
                  <a:lnTo>
                    <a:pt x="133" y="51"/>
                  </a:lnTo>
                  <a:lnTo>
                    <a:pt x="127" y="45"/>
                  </a:lnTo>
                  <a:lnTo>
                    <a:pt x="119" y="28"/>
                  </a:lnTo>
                  <a:lnTo>
                    <a:pt x="105" y="24"/>
                  </a:lnTo>
                  <a:lnTo>
                    <a:pt x="95" y="20"/>
                  </a:lnTo>
                  <a:lnTo>
                    <a:pt x="94" y="11"/>
                  </a:lnTo>
                  <a:lnTo>
                    <a:pt x="80" y="0"/>
                  </a:lnTo>
                  <a:lnTo>
                    <a:pt x="69" y="15"/>
                  </a:lnTo>
                  <a:lnTo>
                    <a:pt x="70" y="23"/>
                  </a:lnTo>
                  <a:lnTo>
                    <a:pt x="78" y="31"/>
                  </a:lnTo>
                  <a:lnTo>
                    <a:pt x="86" y="40"/>
                  </a:lnTo>
                  <a:lnTo>
                    <a:pt x="86" y="51"/>
                  </a:lnTo>
                  <a:lnTo>
                    <a:pt x="93" y="58"/>
                  </a:lnTo>
                  <a:lnTo>
                    <a:pt x="102" y="67"/>
                  </a:lnTo>
                  <a:lnTo>
                    <a:pt x="104" y="76"/>
                  </a:lnTo>
                  <a:lnTo>
                    <a:pt x="108" y="83"/>
                  </a:lnTo>
                  <a:lnTo>
                    <a:pt x="111" y="95"/>
                  </a:lnTo>
                  <a:lnTo>
                    <a:pt x="110" y="101"/>
                  </a:lnTo>
                  <a:lnTo>
                    <a:pt x="110" y="108"/>
                  </a:lnTo>
                  <a:lnTo>
                    <a:pt x="102" y="113"/>
                  </a:lnTo>
                  <a:lnTo>
                    <a:pt x="92" y="117"/>
                  </a:lnTo>
                  <a:lnTo>
                    <a:pt x="55" y="166"/>
                  </a:lnTo>
                  <a:lnTo>
                    <a:pt x="47" y="164"/>
                  </a:lnTo>
                  <a:lnTo>
                    <a:pt x="39" y="153"/>
                  </a:lnTo>
                  <a:lnTo>
                    <a:pt x="31" y="146"/>
                  </a:lnTo>
                  <a:lnTo>
                    <a:pt x="24" y="149"/>
                  </a:lnTo>
                  <a:lnTo>
                    <a:pt x="25" y="164"/>
                  </a:lnTo>
                  <a:lnTo>
                    <a:pt x="25" y="175"/>
                  </a:lnTo>
                  <a:lnTo>
                    <a:pt x="13" y="181"/>
                  </a:lnTo>
                  <a:lnTo>
                    <a:pt x="11" y="185"/>
                  </a:lnTo>
                  <a:lnTo>
                    <a:pt x="0" y="212"/>
                  </a:lnTo>
                  <a:lnTo>
                    <a:pt x="9" y="219"/>
                  </a:lnTo>
                  <a:lnTo>
                    <a:pt x="19" y="228"/>
                  </a:lnTo>
                  <a:lnTo>
                    <a:pt x="32" y="236"/>
                  </a:lnTo>
                  <a:lnTo>
                    <a:pt x="39" y="244"/>
                  </a:lnTo>
                  <a:lnTo>
                    <a:pt x="42" y="253"/>
                  </a:lnTo>
                  <a:lnTo>
                    <a:pt x="36" y="258"/>
                  </a:lnTo>
                  <a:lnTo>
                    <a:pt x="32" y="266"/>
                  </a:lnTo>
                  <a:lnTo>
                    <a:pt x="42" y="271"/>
                  </a:lnTo>
                  <a:lnTo>
                    <a:pt x="53" y="274"/>
                  </a:lnTo>
                  <a:lnTo>
                    <a:pt x="61" y="283"/>
                  </a:lnTo>
                  <a:lnTo>
                    <a:pt x="63" y="295"/>
                  </a:lnTo>
                  <a:lnTo>
                    <a:pt x="70" y="289"/>
                  </a:lnTo>
                  <a:lnTo>
                    <a:pt x="80" y="289"/>
                  </a:lnTo>
                  <a:lnTo>
                    <a:pt x="87" y="295"/>
                  </a:lnTo>
                  <a:lnTo>
                    <a:pt x="86" y="301"/>
                  </a:lnTo>
                  <a:lnTo>
                    <a:pt x="92" y="309"/>
                  </a:lnTo>
                  <a:lnTo>
                    <a:pt x="92" y="320"/>
                  </a:lnTo>
                  <a:lnTo>
                    <a:pt x="92" y="332"/>
                  </a:lnTo>
                  <a:lnTo>
                    <a:pt x="87" y="337"/>
                  </a:lnTo>
                  <a:lnTo>
                    <a:pt x="86" y="345"/>
                  </a:lnTo>
                  <a:lnTo>
                    <a:pt x="76" y="348"/>
                  </a:lnTo>
                  <a:lnTo>
                    <a:pt x="75" y="359"/>
                  </a:lnTo>
                  <a:lnTo>
                    <a:pt x="74" y="370"/>
                  </a:lnTo>
                  <a:lnTo>
                    <a:pt x="84" y="374"/>
                  </a:lnTo>
                  <a:lnTo>
                    <a:pt x="91" y="383"/>
                  </a:lnTo>
                  <a:lnTo>
                    <a:pt x="95" y="390"/>
                  </a:lnTo>
                  <a:lnTo>
                    <a:pt x="95" y="398"/>
                  </a:lnTo>
                  <a:lnTo>
                    <a:pt x="101" y="406"/>
                  </a:lnTo>
                  <a:lnTo>
                    <a:pt x="103" y="414"/>
                  </a:lnTo>
                  <a:lnTo>
                    <a:pt x="111" y="422"/>
                  </a:lnTo>
                  <a:lnTo>
                    <a:pt x="110" y="433"/>
                  </a:lnTo>
                  <a:lnTo>
                    <a:pt x="103" y="443"/>
                  </a:lnTo>
                  <a:lnTo>
                    <a:pt x="95" y="452"/>
                  </a:lnTo>
                  <a:lnTo>
                    <a:pt x="91" y="458"/>
                  </a:lnTo>
                  <a:lnTo>
                    <a:pt x="80" y="457"/>
                  </a:lnTo>
                  <a:lnTo>
                    <a:pt x="70" y="452"/>
                  </a:lnTo>
                  <a:lnTo>
                    <a:pt x="69" y="461"/>
                  </a:lnTo>
                  <a:lnTo>
                    <a:pt x="64" y="469"/>
                  </a:lnTo>
                  <a:lnTo>
                    <a:pt x="71" y="472"/>
                  </a:lnTo>
                  <a:lnTo>
                    <a:pt x="85" y="475"/>
                  </a:lnTo>
                  <a:lnTo>
                    <a:pt x="85" y="484"/>
                  </a:lnTo>
                  <a:lnTo>
                    <a:pt x="90" y="492"/>
                  </a:lnTo>
                  <a:lnTo>
                    <a:pt x="90" y="502"/>
                  </a:lnTo>
                  <a:lnTo>
                    <a:pt x="90" y="511"/>
                  </a:lnTo>
                  <a:lnTo>
                    <a:pt x="94" y="521"/>
                  </a:lnTo>
                  <a:lnTo>
                    <a:pt x="93" y="534"/>
                  </a:lnTo>
                  <a:lnTo>
                    <a:pt x="98" y="543"/>
                  </a:lnTo>
                  <a:lnTo>
                    <a:pt x="94" y="552"/>
                  </a:lnTo>
                  <a:lnTo>
                    <a:pt x="103" y="565"/>
                  </a:lnTo>
                  <a:lnTo>
                    <a:pt x="101" y="576"/>
                  </a:lnTo>
                  <a:lnTo>
                    <a:pt x="107" y="583"/>
                  </a:lnTo>
                  <a:lnTo>
                    <a:pt x="107" y="596"/>
                  </a:lnTo>
                  <a:lnTo>
                    <a:pt x="107" y="609"/>
                  </a:lnTo>
                  <a:lnTo>
                    <a:pt x="107" y="621"/>
                  </a:lnTo>
                  <a:lnTo>
                    <a:pt x="105" y="629"/>
                  </a:lnTo>
                  <a:lnTo>
                    <a:pt x="98" y="639"/>
                  </a:lnTo>
                  <a:lnTo>
                    <a:pt x="90" y="647"/>
                  </a:lnTo>
                  <a:lnTo>
                    <a:pt x="76" y="654"/>
                  </a:lnTo>
                  <a:lnTo>
                    <a:pt x="74" y="663"/>
                  </a:lnTo>
                  <a:lnTo>
                    <a:pt x="87" y="663"/>
                  </a:lnTo>
                  <a:lnTo>
                    <a:pt x="75" y="670"/>
                  </a:lnTo>
                  <a:lnTo>
                    <a:pt x="76" y="676"/>
                  </a:lnTo>
                  <a:lnTo>
                    <a:pt x="88" y="671"/>
                  </a:lnTo>
                  <a:lnTo>
                    <a:pt x="98" y="675"/>
                  </a:lnTo>
                  <a:lnTo>
                    <a:pt x="105" y="664"/>
                  </a:lnTo>
                  <a:lnTo>
                    <a:pt x="109" y="669"/>
                  </a:lnTo>
                  <a:lnTo>
                    <a:pt x="115" y="662"/>
                  </a:lnTo>
                  <a:lnTo>
                    <a:pt x="127" y="662"/>
                  </a:lnTo>
                  <a:lnTo>
                    <a:pt x="137" y="665"/>
                  </a:lnTo>
                  <a:lnTo>
                    <a:pt x="149" y="672"/>
                  </a:lnTo>
                  <a:lnTo>
                    <a:pt x="155" y="677"/>
                  </a:lnTo>
                  <a:lnTo>
                    <a:pt x="171" y="674"/>
                  </a:lnTo>
                  <a:lnTo>
                    <a:pt x="183" y="683"/>
                  </a:lnTo>
                  <a:lnTo>
                    <a:pt x="193" y="689"/>
                  </a:lnTo>
                  <a:lnTo>
                    <a:pt x="207" y="694"/>
                  </a:lnTo>
                  <a:lnTo>
                    <a:pt x="213" y="686"/>
                  </a:lnTo>
                  <a:lnTo>
                    <a:pt x="232" y="686"/>
                  </a:lnTo>
                  <a:lnTo>
                    <a:pt x="236" y="675"/>
                  </a:lnTo>
                  <a:lnTo>
                    <a:pt x="245" y="671"/>
                  </a:lnTo>
                  <a:lnTo>
                    <a:pt x="253" y="669"/>
                  </a:lnTo>
                  <a:lnTo>
                    <a:pt x="251" y="659"/>
                  </a:lnTo>
                  <a:lnTo>
                    <a:pt x="239" y="654"/>
                  </a:lnTo>
                  <a:lnTo>
                    <a:pt x="236" y="647"/>
                  </a:lnTo>
                  <a:lnTo>
                    <a:pt x="232" y="638"/>
                  </a:lnTo>
                  <a:lnTo>
                    <a:pt x="229" y="624"/>
                  </a:lnTo>
                  <a:lnTo>
                    <a:pt x="239" y="624"/>
                  </a:lnTo>
                  <a:lnTo>
                    <a:pt x="241" y="615"/>
                  </a:lnTo>
                  <a:lnTo>
                    <a:pt x="253" y="592"/>
                  </a:lnTo>
                  <a:lnTo>
                    <a:pt x="262" y="577"/>
                  </a:lnTo>
                  <a:lnTo>
                    <a:pt x="266" y="571"/>
                  </a:lnTo>
                  <a:lnTo>
                    <a:pt x="276" y="568"/>
                  </a:lnTo>
                  <a:lnTo>
                    <a:pt x="288" y="556"/>
                  </a:lnTo>
                  <a:lnTo>
                    <a:pt x="296" y="545"/>
                  </a:lnTo>
                  <a:lnTo>
                    <a:pt x="294" y="538"/>
                  </a:lnTo>
                  <a:lnTo>
                    <a:pt x="284" y="532"/>
                  </a:lnTo>
                  <a:lnTo>
                    <a:pt x="283" y="522"/>
                  </a:lnTo>
                  <a:lnTo>
                    <a:pt x="276" y="512"/>
                  </a:lnTo>
                  <a:lnTo>
                    <a:pt x="269" y="507"/>
                  </a:lnTo>
                  <a:lnTo>
                    <a:pt x="263" y="497"/>
                  </a:lnTo>
                  <a:lnTo>
                    <a:pt x="274" y="491"/>
                  </a:lnTo>
                  <a:lnTo>
                    <a:pt x="280" y="482"/>
                  </a:lnTo>
                  <a:lnTo>
                    <a:pt x="288" y="475"/>
                  </a:lnTo>
                  <a:lnTo>
                    <a:pt x="295" y="475"/>
                  </a:lnTo>
                  <a:lnTo>
                    <a:pt x="302" y="468"/>
                  </a:lnTo>
                  <a:lnTo>
                    <a:pt x="317" y="468"/>
                  </a:lnTo>
                  <a:lnTo>
                    <a:pt x="313" y="457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BBA5C6FE-DA90-4215-A869-54E6F3D2B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" y="1477"/>
              <a:ext cx="332" cy="363"/>
            </a:xfrm>
            <a:custGeom>
              <a:avLst/>
              <a:gdLst>
                <a:gd name="T0" fmla="*/ 95 w 332"/>
                <a:gd name="T1" fmla="*/ 149 h 363"/>
                <a:gd name="T2" fmla="*/ 103 w 332"/>
                <a:gd name="T3" fmla="*/ 173 h 363"/>
                <a:gd name="T4" fmla="*/ 81 w 332"/>
                <a:gd name="T5" fmla="*/ 190 h 363"/>
                <a:gd name="T6" fmla="*/ 62 w 332"/>
                <a:gd name="T7" fmla="*/ 212 h 363"/>
                <a:gd name="T8" fmla="*/ 39 w 332"/>
                <a:gd name="T9" fmla="*/ 228 h 363"/>
                <a:gd name="T10" fmla="*/ 19 w 332"/>
                <a:gd name="T11" fmla="*/ 245 h 363"/>
                <a:gd name="T12" fmla="*/ 16 w 332"/>
                <a:gd name="T13" fmla="*/ 270 h 363"/>
                <a:gd name="T14" fmla="*/ 11 w 332"/>
                <a:gd name="T15" fmla="*/ 295 h 363"/>
                <a:gd name="T16" fmla="*/ 34 w 332"/>
                <a:gd name="T17" fmla="*/ 317 h 363"/>
                <a:gd name="T18" fmla="*/ 47 w 332"/>
                <a:gd name="T19" fmla="*/ 327 h 363"/>
                <a:gd name="T20" fmla="*/ 57 w 332"/>
                <a:gd name="T21" fmla="*/ 345 h 363"/>
                <a:gd name="T22" fmla="*/ 82 w 332"/>
                <a:gd name="T23" fmla="*/ 349 h 363"/>
                <a:gd name="T24" fmla="*/ 105 w 332"/>
                <a:gd name="T25" fmla="*/ 362 h 363"/>
                <a:gd name="T26" fmla="*/ 133 w 332"/>
                <a:gd name="T27" fmla="*/ 353 h 363"/>
                <a:gd name="T28" fmla="*/ 153 w 332"/>
                <a:gd name="T29" fmla="*/ 353 h 363"/>
                <a:gd name="T30" fmla="*/ 165 w 332"/>
                <a:gd name="T31" fmla="*/ 315 h 363"/>
                <a:gd name="T32" fmla="*/ 190 w 332"/>
                <a:gd name="T33" fmla="*/ 320 h 363"/>
                <a:gd name="T34" fmla="*/ 174 w 332"/>
                <a:gd name="T35" fmla="*/ 343 h 363"/>
                <a:gd name="T36" fmla="*/ 194 w 332"/>
                <a:gd name="T37" fmla="*/ 343 h 363"/>
                <a:gd name="T38" fmla="*/ 214 w 332"/>
                <a:gd name="T39" fmla="*/ 330 h 363"/>
                <a:gd name="T40" fmla="*/ 246 w 332"/>
                <a:gd name="T41" fmla="*/ 322 h 363"/>
                <a:gd name="T42" fmla="*/ 275 w 332"/>
                <a:gd name="T43" fmla="*/ 296 h 363"/>
                <a:gd name="T44" fmla="*/ 294 w 332"/>
                <a:gd name="T45" fmla="*/ 270 h 363"/>
                <a:gd name="T46" fmla="*/ 284 w 332"/>
                <a:gd name="T47" fmla="*/ 241 h 363"/>
                <a:gd name="T48" fmla="*/ 300 w 332"/>
                <a:gd name="T49" fmla="*/ 240 h 363"/>
                <a:gd name="T50" fmla="*/ 320 w 332"/>
                <a:gd name="T51" fmla="*/ 243 h 363"/>
                <a:gd name="T52" fmla="*/ 332 w 332"/>
                <a:gd name="T53" fmla="*/ 218 h 363"/>
                <a:gd name="T54" fmla="*/ 332 w 332"/>
                <a:gd name="T55" fmla="*/ 190 h 363"/>
                <a:gd name="T56" fmla="*/ 317 w 332"/>
                <a:gd name="T57" fmla="*/ 173 h 363"/>
                <a:gd name="T58" fmla="*/ 294 w 332"/>
                <a:gd name="T59" fmla="*/ 167 h 363"/>
                <a:gd name="T60" fmla="*/ 269 w 332"/>
                <a:gd name="T61" fmla="*/ 152 h 363"/>
                <a:gd name="T62" fmla="*/ 269 w 332"/>
                <a:gd name="T63" fmla="*/ 122 h 363"/>
                <a:gd name="T64" fmla="*/ 260 w 332"/>
                <a:gd name="T65" fmla="*/ 100 h 363"/>
                <a:gd name="T66" fmla="*/ 245 w 332"/>
                <a:gd name="T67" fmla="*/ 85 h 363"/>
                <a:gd name="T68" fmla="*/ 230 w 332"/>
                <a:gd name="T69" fmla="*/ 74 h 363"/>
                <a:gd name="T70" fmla="*/ 201 w 332"/>
                <a:gd name="T71" fmla="*/ 80 h 363"/>
                <a:gd name="T72" fmla="*/ 181 w 332"/>
                <a:gd name="T73" fmla="*/ 85 h 363"/>
                <a:gd name="T74" fmla="*/ 153 w 332"/>
                <a:gd name="T75" fmla="*/ 74 h 363"/>
                <a:gd name="T76" fmla="*/ 137 w 332"/>
                <a:gd name="T77" fmla="*/ 61 h 363"/>
                <a:gd name="T78" fmla="*/ 120 w 332"/>
                <a:gd name="T79" fmla="*/ 45 h 363"/>
                <a:gd name="T80" fmla="*/ 123 w 332"/>
                <a:gd name="T81" fmla="*/ 22 h 363"/>
                <a:gd name="T82" fmla="*/ 107 w 332"/>
                <a:gd name="T83" fmla="*/ 6 h 363"/>
                <a:gd name="T84" fmla="*/ 106 w 332"/>
                <a:gd name="T85" fmla="*/ 36 h 363"/>
                <a:gd name="T86" fmla="*/ 112 w 332"/>
                <a:gd name="T87" fmla="*/ 69 h 363"/>
                <a:gd name="T88" fmla="*/ 99 w 332"/>
                <a:gd name="T89" fmla="*/ 98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2" h="363">
                  <a:moveTo>
                    <a:pt x="93" y="128"/>
                  </a:moveTo>
                  <a:lnTo>
                    <a:pt x="95" y="139"/>
                  </a:lnTo>
                  <a:lnTo>
                    <a:pt x="95" y="149"/>
                  </a:lnTo>
                  <a:lnTo>
                    <a:pt x="100" y="159"/>
                  </a:lnTo>
                  <a:lnTo>
                    <a:pt x="106" y="166"/>
                  </a:lnTo>
                  <a:lnTo>
                    <a:pt x="103" y="173"/>
                  </a:lnTo>
                  <a:lnTo>
                    <a:pt x="95" y="180"/>
                  </a:lnTo>
                  <a:lnTo>
                    <a:pt x="83" y="183"/>
                  </a:lnTo>
                  <a:lnTo>
                    <a:pt x="81" y="190"/>
                  </a:lnTo>
                  <a:lnTo>
                    <a:pt x="72" y="193"/>
                  </a:lnTo>
                  <a:lnTo>
                    <a:pt x="68" y="204"/>
                  </a:lnTo>
                  <a:lnTo>
                    <a:pt x="62" y="212"/>
                  </a:lnTo>
                  <a:lnTo>
                    <a:pt x="51" y="215"/>
                  </a:lnTo>
                  <a:lnTo>
                    <a:pt x="42" y="220"/>
                  </a:lnTo>
                  <a:lnTo>
                    <a:pt x="39" y="228"/>
                  </a:lnTo>
                  <a:lnTo>
                    <a:pt x="27" y="230"/>
                  </a:lnTo>
                  <a:lnTo>
                    <a:pt x="22" y="236"/>
                  </a:lnTo>
                  <a:lnTo>
                    <a:pt x="19" y="245"/>
                  </a:lnTo>
                  <a:lnTo>
                    <a:pt x="21" y="255"/>
                  </a:lnTo>
                  <a:lnTo>
                    <a:pt x="23" y="264"/>
                  </a:lnTo>
                  <a:lnTo>
                    <a:pt x="16" y="270"/>
                  </a:lnTo>
                  <a:lnTo>
                    <a:pt x="11" y="278"/>
                  </a:lnTo>
                  <a:lnTo>
                    <a:pt x="0" y="288"/>
                  </a:lnTo>
                  <a:lnTo>
                    <a:pt x="11" y="295"/>
                  </a:lnTo>
                  <a:lnTo>
                    <a:pt x="13" y="305"/>
                  </a:lnTo>
                  <a:lnTo>
                    <a:pt x="23" y="316"/>
                  </a:lnTo>
                  <a:lnTo>
                    <a:pt x="34" y="317"/>
                  </a:lnTo>
                  <a:lnTo>
                    <a:pt x="42" y="309"/>
                  </a:lnTo>
                  <a:lnTo>
                    <a:pt x="48" y="315"/>
                  </a:lnTo>
                  <a:lnTo>
                    <a:pt x="47" y="327"/>
                  </a:lnTo>
                  <a:lnTo>
                    <a:pt x="52" y="332"/>
                  </a:lnTo>
                  <a:lnTo>
                    <a:pt x="49" y="341"/>
                  </a:lnTo>
                  <a:lnTo>
                    <a:pt x="57" y="345"/>
                  </a:lnTo>
                  <a:lnTo>
                    <a:pt x="62" y="338"/>
                  </a:lnTo>
                  <a:lnTo>
                    <a:pt x="74" y="343"/>
                  </a:lnTo>
                  <a:lnTo>
                    <a:pt x="82" y="349"/>
                  </a:lnTo>
                  <a:lnTo>
                    <a:pt x="92" y="351"/>
                  </a:lnTo>
                  <a:lnTo>
                    <a:pt x="96" y="359"/>
                  </a:lnTo>
                  <a:lnTo>
                    <a:pt x="105" y="362"/>
                  </a:lnTo>
                  <a:lnTo>
                    <a:pt x="115" y="363"/>
                  </a:lnTo>
                  <a:lnTo>
                    <a:pt x="125" y="358"/>
                  </a:lnTo>
                  <a:lnTo>
                    <a:pt x="133" y="353"/>
                  </a:lnTo>
                  <a:lnTo>
                    <a:pt x="142" y="353"/>
                  </a:lnTo>
                  <a:lnTo>
                    <a:pt x="150" y="363"/>
                  </a:lnTo>
                  <a:lnTo>
                    <a:pt x="153" y="353"/>
                  </a:lnTo>
                  <a:lnTo>
                    <a:pt x="153" y="339"/>
                  </a:lnTo>
                  <a:lnTo>
                    <a:pt x="157" y="322"/>
                  </a:lnTo>
                  <a:lnTo>
                    <a:pt x="165" y="315"/>
                  </a:lnTo>
                  <a:lnTo>
                    <a:pt x="176" y="312"/>
                  </a:lnTo>
                  <a:lnTo>
                    <a:pt x="186" y="315"/>
                  </a:lnTo>
                  <a:lnTo>
                    <a:pt x="190" y="320"/>
                  </a:lnTo>
                  <a:lnTo>
                    <a:pt x="193" y="329"/>
                  </a:lnTo>
                  <a:lnTo>
                    <a:pt x="183" y="338"/>
                  </a:lnTo>
                  <a:lnTo>
                    <a:pt x="174" y="343"/>
                  </a:lnTo>
                  <a:lnTo>
                    <a:pt x="178" y="349"/>
                  </a:lnTo>
                  <a:lnTo>
                    <a:pt x="193" y="352"/>
                  </a:lnTo>
                  <a:lnTo>
                    <a:pt x="194" y="343"/>
                  </a:lnTo>
                  <a:lnTo>
                    <a:pt x="199" y="338"/>
                  </a:lnTo>
                  <a:lnTo>
                    <a:pt x="207" y="336"/>
                  </a:lnTo>
                  <a:lnTo>
                    <a:pt x="214" y="330"/>
                  </a:lnTo>
                  <a:lnTo>
                    <a:pt x="216" y="320"/>
                  </a:lnTo>
                  <a:lnTo>
                    <a:pt x="235" y="321"/>
                  </a:lnTo>
                  <a:lnTo>
                    <a:pt x="246" y="322"/>
                  </a:lnTo>
                  <a:lnTo>
                    <a:pt x="253" y="316"/>
                  </a:lnTo>
                  <a:lnTo>
                    <a:pt x="263" y="308"/>
                  </a:lnTo>
                  <a:lnTo>
                    <a:pt x="275" y="296"/>
                  </a:lnTo>
                  <a:lnTo>
                    <a:pt x="283" y="284"/>
                  </a:lnTo>
                  <a:lnTo>
                    <a:pt x="292" y="278"/>
                  </a:lnTo>
                  <a:lnTo>
                    <a:pt x="294" y="270"/>
                  </a:lnTo>
                  <a:lnTo>
                    <a:pt x="293" y="258"/>
                  </a:lnTo>
                  <a:lnTo>
                    <a:pt x="292" y="247"/>
                  </a:lnTo>
                  <a:lnTo>
                    <a:pt x="284" y="241"/>
                  </a:lnTo>
                  <a:lnTo>
                    <a:pt x="283" y="231"/>
                  </a:lnTo>
                  <a:lnTo>
                    <a:pt x="294" y="231"/>
                  </a:lnTo>
                  <a:lnTo>
                    <a:pt x="300" y="240"/>
                  </a:lnTo>
                  <a:lnTo>
                    <a:pt x="302" y="248"/>
                  </a:lnTo>
                  <a:lnTo>
                    <a:pt x="311" y="251"/>
                  </a:lnTo>
                  <a:lnTo>
                    <a:pt x="320" y="243"/>
                  </a:lnTo>
                  <a:lnTo>
                    <a:pt x="324" y="236"/>
                  </a:lnTo>
                  <a:lnTo>
                    <a:pt x="326" y="224"/>
                  </a:lnTo>
                  <a:lnTo>
                    <a:pt x="332" y="218"/>
                  </a:lnTo>
                  <a:lnTo>
                    <a:pt x="331" y="210"/>
                  </a:lnTo>
                  <a:lnTo>
                    <a:pt x="331" y="199"/>
                  </a:lnTo>
                  <a:lnTo>
                    <a:pt x="332" y="190"/>
                  </a:lnTo>
                  <a:lnTo>
                    <a:pt x="329" y="180"/>
                  </a:lnTo>
                  <a:lnTo>
                    <a:pt x="322" y="180"/>
                  </a:lnTo>
                  <a:lnTo>
                    <a:pt x="317" y="173"/>
                  </a:lnTo>
                  <a:lnTo>
                    <a:pt x="316" y="166"/>
                  </a:lnTo>
                  <a:lnTo>
                    <a:pt x="306" y="167"/>
                  </a:lnTo>
                  <a:lnTo>
                    <a:pt x="294" y="167"/>
                  </a:lnTo>
                  <a:lnTo>
                    <a:pt x="282" y="165"/>
                  </a:lnTo>
                  <a:lnTo>
                    <a:pt x="275" y="157"/>
                  </a:lnTo>
                  <a:lnTo>
                    <a:pt x="269" y="152"/>
                  </a:lnTo>
                  <a:lnTo>
                    <a:pt x="274" y="141"/>
                  </a:lnTo>
                  <a:lnTo>
                    <a:pt x="266" y="131"/>
                  </a:lnTo>
                  <a:lnTo>
                    <a:pt x="269" y="122"/>
                  </a:lnTo>
                  <a:lnTo>
                    <a:pt x="270" y="113"/>
                  </a:lnTo>
                  <a:lnTo>
                    <a:pt x="263" y="105"/>
                  </a:lnTo>
                  <a:lnTo>
                    <a:pt x="260" y="100"/>
                  </a:lnTo>
                  <a:lnTo>
                    <a:pt x="259" y="94"/>
                  </a:lnTo>
                  <a:lnTo>
                    <a:pt x="252" y="89"/>
                  </a:lnTo>
                  <a:lnTo>
                    <a:pt x="245" y="85"/>
                  </a:lnTo>
                  <a:lnTo>
                    <a:pt x="245" y="80"/>
                  </a:lnTo>
                  <a:lnTo>
                    <a:pt x="239" y="72"/>
                  </a:lnTo>
                  <a:lnTo>
                    <a:pt x="230" y="74"/>
                  </a:lnTo>
                  <a:lnTo>
                    <a:pt x="221" y="74"/>
                  </a:lnTo>
                  <a:lnTo>
                    <a:pt x="206" y="72"/>
                  </a:lnTo>
                  <a:lnTo>
                    <a:pt x="201" y="80"/>
                  </a:lnTo>
                  <a:lnTo>
                    <a:pt x="199" y="87"/>
                  </a:lnTo>
                  <a:lnTo>
                    <a:pt x="190" y="89"/>
                  </a:lnTo>
                  <a:lnTo>
                    <a:pt x="181" y="85"/>
                  </a:lnTo>
                  <a:lnTo>
                    <a:pt x="172" y="87"/>
                  </a:lnTo>
                  <a:lnTo>
                    <a:pt x="163" y="83"/>
                  </a:lnTo>
                  <a:lnTo>
                    <a:pt x="153" y="74"/>
                  </a:lnTo>
                  <a:lnTo>
                    <a:pt x="147" y="68"/>
                  </a:lnTo>
                  <a:lnTo>
                    <a:pt x="145" y="61"/>
                  </a:lnTo>
                  <a:lnTo>
                    <a:pt x="137" y="61"/>
                  </a:lnTo>
                  <a:lnTo>
                    <a:pt x="124" y="61"/>
                  </a:lnTo>
                  <a:lnTo>
                    <a:pt x="119" y="54"/>
                  </a:lnTo>
                  <a:lnTo>
                    <a:pt x="120" y="45"/>
                  </a:lnTo>
                  <a:lnTo>
                    <a:pt x="130" y="40"/>
                  </a:lnTo>
                  <a:lnTo>
                    <a:pt x="131" y="31"/>
                  </a:lnTo>
                  <a:lnTo>
                    <a:pt x="123" y="22"/>
                  </a:lnTo>
                  <a:lnTo>
                    <a:pt x="117" y="9"/>
                  </a:lnTo>
                  <a:lnTo>
                    <a:pt x="116" y="0"/>
                  </a:lnTo>
                  <a:lnTo>
                    <a:pt x="107" y="6"/>
                  </a:lnTo>
                  <a:lnTo>
                    <a:pt x="101" y="16"/>
                  </a:lnTo>
                  <a:lnTo>
                    <a:pt x="100" y="28"/>
                  </a:lnTo>
                  <a:lnTo>
                    <a:pt x="106" y="36"/>
                  </a:lnTo>
                  <a:lnTo>
                    <a:pt x="110" y="48"/>
                  </a:lnTo>
                  <a:lnTo>
                    <a:pt x="111" y="58"/>
                  </a:lnTo>
                  <a:lnTo>
                    <a:pt x="112" y="69"/>
                  </a:lnTo>
                  <a:lnTo>
                    <a:pt x="110" y="80"/>
                  </a:lnTo>
                  <a:lnTo>
                    <a:pt x="104" y="86"/>
                  </a:lnTo>
                  <a:lnTo>
                    <a:pt x="99" y="98"/>
                  </a:lnTo>
                  <a:lnTo>
                    <a:pt x="98" y="110"/>
                  </a:lnTo>
                  <a:lnTo>
                    <a:pt x="93" y="128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00CAC89B-51DD-4ECD-971B-D6ED2DB49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" y="1477"/>
              <a:ext cx="332" cy="363"/>
            </a:xfrm>
            <a:custGeom>
              <a:avLst/>
              <a:gdLst>
                <a:gd name="T0" fmla="*/ 95 w 332"/>
                <a:gd name="T1" fmla="*/ 149 h 363"/>
                <a:gd name="T2" fmla="*/ 103 w 332"/>
                <a:gd name="T3" fmla="*/ 173 h 363"/>
                <a:gd name="T4" fmla="*/ 81 w 332"/>
                <a:gd name="T5" fmla="*/ 190 h 363"/>
                <a:gd name="T6" fmla="*/ 62 w 332"/>
                <a:gd name="T7" fmla="*/ 212 h 363"/>
                <a:gd name="T8" fmla="*/ 39 w 332"/>
                <a:gd name="T9" fmla="*/ 228 h 363"/>
                <a:gd name="T10" fmla="*/ 19 w 332"/>
                <a:gd name="T11" fmla="*/ 245 h 363"/>
                <a:gd name="T12" fmla="*/ 16 w 332"/>
                <a:gd name="T13" fmla="*/ 270 h 363"/>
                <a:gd name="T14" fmla="*/ 11 w 332"/>
                <a:gd name="T15" fmla="*/ 295 h 363"/>
                <a:gd name="T16" fmla="*/ 34 w 332"/>
                <a:gd name="T17" fmla="*/ 317 h 363"/>
                <a:gd name="T18" fmla="*/ 47 w 332"/>
                <a:gd name="T19" fmla="*/ 327 h 363"/>
                <a:gd name="T20" fmla="*/ 57 w 332"/>
                <a:gd name="T21" fmla="*/ 345 h 363"/>
                <a:gd name="T22" fmla="*/ 82 w 332"/>
                <a:gd name="T23" fmla="*/ 349 h 363"/>
                <a:gd name="T24" fmla="*/ 105 w 332"/>
                <a:gd name="T25" fmla="*/ 362 h 363"/>
                <a:gd name="T26" fmla="*/ 133 w 332"/>
                <a:gd name="T27" fmla="*/ 353 h 363"/>
                <a:gd name="T28" fmla="*/ 153 w 332"/>
                <a:gd name="T29" fmla="*/ 353 h 363"/>
                <a:gd name="T30" fmla="*/ 165 w 332"/>
                <a:gd name="T31" fmla="*/ 315 h 363"/>
                <a:gd name="T32" fmla="*/ 190 w 332"/>
                <a:gd name="T33" fmla="*/ 320 h 363"/>
                <a:gd name="T34" fmla="*/ 174 w 332"/>
                <a:gd name="T35" fmla="*/ 343 h 363"/>
                <a:gd name="T36" fmla="*/ 194 w 332"/>
                <a:gd name="T37" fmla="*/ 343 h 363"/>
                <a:gd name="T38" fmla="*/ 214 w 332"/>
                <a:gd name="T39" fmla="*/ 330 h 363"/>
                <a:gd name="T40" fmla="*/ 246 w 332"/>
                <a:gd name="T41" fmla="*/ 322 h 363"/>
                <a:gd name="T42" fmla="*/ 275 w 332"/>
                <a:gd name="T43" fmla="*/ 296 h 363"/>
                <a:gd name="T44" fmla="*/ 294 w 332"/>
                <a:gd name="T45" fmla="*/ 270 h 363"/>
                <a:gd name="T46" fmla="*/ 284 w 332"/>
                <a:gd name="T47" fmla="*/ 241 h 363"/>
                <a:gd name="T48" fmla="*/ 300 w 332"/>
                <a:gd name="T49" fmla="*/ 240 h 363"/>
                <a:gd name="T50" fmla="*/ 320 w 332"/>
                <a:gd name="T51" fmla="*/ 243 h 363"/>
                <a:gd name="T52" fmla="*/ 332 w 332"/>
                <a:gd name="T53" fmla="*/ 218 h 363"/>
                <a:gd name="T54" fmla="*/ 332 w 332"/>
                <a:gd name="T55" fmla="*/ 190 h 363"/>
                <a:gd name="T56" fmla="*/ 317 w 332"/>
                <a:gd name="T57" fmla="*/ 173 h 363"/>
                <a:gd name="T58" fmla="*/ 294 w 332"/>
                <a:gd name="T59" fmla="*/ 167 h 363"/>
                <a:gd name="T60" fmla="*/ 269 w 332"/>
                <a:gd name="T61" fmla="*/ 152 h 363"/>
                <a:gd name="T62" fmla="*/ 269 w 332"/>
                <a:gd name="T63" fmla="*/ 122 h 363"/>
                <a:gd name="T64" fmla="*/ 260 w 332"/>
                <a:gd name="T65" fmla="*/ 100 h 363"/>
                <a:gd name="T66" fmla="*/ 245 w 332"/>
                <a:gd name="T67" fmla="*/ 85 h 363"/>
                <a:gd name="T68" fmla="*/ 230 w 332"/>
                <a:gd name="T69" fmla="*/ 74 h 363"/>
                <a:gd name="T70" fmla="*/ 201 w 332"/>
                <a:gd name="T71" fmla="*/ 80 h 363"/>
                <a:gd name="T72" fmla="*/ 181 w 332"/>
                <a:gd name="T73" fmla="*/ 85 h 363"/>
                <a:gd name="T74" fmla="*/ 153 w 332"/>
                <a:gd name="T75" fmla="*/ 74 h 363"/>
                <a:gd name="T76" fmla="*/ 137 w 332"/>
                <a:gd name="T77" fmla="*/ 61 h 363"/>
                <a:gd name="T78" fmla="*/ 120 w 332"/>
                <a:gd name="T79" fmla="*/ 45 h 363"/>
                <a:gd name="T80" fmla="*/ 123 w 332"/>
                <a:gd name="T81" fmla="*/ 22 h 363"/>
                <a:gd name="T82" fmla="*/ 107 w 332"/>
                <a:gd name="T83" fmla="*/ 6 h 363"/>
                <a:gd name="T84" fmla="*/ 106 w 332"/>
                <a:gd name="T85" fmla="*/ 36 h 363"/>
                <a:gd name="T86" fmla="*/ 112 w 332"/>
                <a:gd name="T87" fmla="*/ 69 h 363"/>
                <a:gd name="T88" fmla="*/ 99 w 332"/>
                <a:gd name="T89" fmla="*/ 98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2" h="363">
                  <a:moveTo>
                    <a:pt x="93" y="128"/>
                  </a:moveTo>
                  <a:lnTo>
                    <a:pt x="95" y="139"/>
                  </a:lnTo>
                  <a:lnTo>
                    <a:pt x="95" y="149"/>
                  </a:lnTo>
                  <a:lnTo>
                    <a:pt x="100" y="159"/>
                  </a:lnTo>
                  <a:lnTo>
                    <a:pt x="106" y="166"/>
                  </a:lnTo>
                  <a:lnTo>
                    <a:pt x="103" y="173"/>
                  </a:lnTo>
                  <a:lnTo>
                    <a:pt x="95" y="180"/>
                  </a:lnTo>
                  <a:lnTo>
                    <a:pt x="83" y="183"/>
                  </a:lnTo>
                  <a:lnTo>
                    <a:pt x="81" y="190"/>
                  </a:lnTo>
                  <a:lnTo>
                    <a:pt x="72" y="193"/>
                  </a:lnTo>
                  <a:lnTo>
                    <a:pt x="68" y="204"/>
                  </a:lnTo>
                  <a:lnTo>
                    <a:pt x="62" y="212"/>
                  </a:lnTo>
                  <a:lnTo>
                    <a:pt x="51" y="215"/>
                  </a:lnTo>
                  <a:lnTo>
                    <a:pt x="42" y="220"/>
                  </a:lnTo>
                  <a:lnTo>
                    <a:pt x="39" y="228"/>
                  </a:lnTo>
                  <a:lnTo>
                    <a:pt x="27" y="230"/>
                  </a:lnTo>
                  <a:lnTo>
                    <a:pt x="22" y="236"/>
                  </a:lnTo>
                  <a:lnTo>
                    <a:pt x="19" y="245"/>
                  </a:lnTo>
                  <a:lnTo>
                    <a:pt x="21" y="255"/>
                  </a:lnTo>
                  <a:lnTo>
                    <a:pt x="23" y="264"/>
                  </a:lnTo>
                  <a:lnTo>
                    <a:pt x="16" y="270"/>
                  </a:lnTo>
                  <a:lnTo>
                    <a:pt x="11" y="278"/>
                  </a:lnTo>
                  <a:lnTo>
                    <a:pt x="0" y="288"/>
                  </a:lnTo>
                  <a:lnTo>
                    <a:pt x="11" y="295"/>
                  </a:lnTo>
                  <a:lnTo>
                    <a:pt x="13" y="305"/>
                  </a:lnTo>
                  <a:lnTo>
                    <a:pt x="23" y="316"/>
                  </a:lnTo>
                  <a:lnTo>
                    <a:pt x="34" y="317"/>
                  </a:lnTo>
                  <a:lnTo>
                    <a:pt x="42" y="309"/>
                  </a:lnTo>
                  <a:lnTo>
                    <a:pt x="48" y="315"/>
                  </a:lnTo>
                  <a:lnTo>
                    <a:pt x="47" y="327"/>
                  </a:lnTo>
                  <a:lnTo>
                    <a:pt x="52" y="332"/>
                  </a:lnTo>
                  <a:lnTo>
                    <a:pt x="49" y="341"/>
                  </a:lnTo>
                  <a:lnTo>
                    <a:pt x="57" y="345"/>
                  </a:lnTo>
                  <a:lnTo>
                    <a:pt x="62" y="338"/>
                  </a:lnTo>
                  <a:lnTo>
                    <a:pt x="74" y="343"/>
                  </a:lnTo>
                  <a:lnTo>
                    <a:pt x="82" y="349"/>
                  </a:lnTo>
                  <a:lnTo>
                    <a:pt x="92" y="351"/>
                  </a:lnTo>
                  <a:lnTo>
                    <a:pt x="96" y="359"/>
                  </a:lnTo>
                  <a:lnTo>
                    <a:pt x="105" y="362"/>
                  </a:lnTo>
                  <a:lnTo>
                    <a:pt x="115" y="363"/>
                  </a:lnTo>
                  <a:lnTo>
                    <a:pt x="125" y="358"/>
                  </a:lnTo>
                  <a:lnTo>
                    <a:pt x="133" y="353"/>
                  </a:lnTo>
                  <a:lnTo>
                    <a:pt x="142" y="353"/>
                  </a:lnTo>
                  <a:lnTo>
                    <a:pt x="150" y="363"/>
                  </a:lnTo>
                  <a:lnTo>
                    <a:pt x="153" y="353"/>
                  </a:lnTo>
                  <a:lnTo>
                    <a:pt x="153" y="339"/>
                  </a:lnTo>
                  <a:lnTo>
                    <a:pt x="157" y="322"/>
                  </a:lnTo>
                  <a:lnTo>
                    <a:pt x="165" y="315"/>
                  </a:lnTo>
                  <a:lnTo>
                    <a:pt x="176" y="312"/>
                  </a:lnTo>
                  <a:lnTo>
                    <a:pt x="186" y="315"/>
                  </a:lnTo>
                  <a:lnTo>
                    <a:pt x="190" y="320"/>
                  </a:lnTo>
                  <a:lnTo>
                    <a:pt x="193" y="329"/>
                  </a:lnTo>
                  <a:lnTo>
                    <a:pt x="183" y="338"/>
                  </a:lnTo>
                  <a:lnTo>
                    <a:pt x="174" y="343"/>
                  </a:lnTo>
                  <a:lnTo>
                    <a:pt x="178" y="349"/>
                  </a:lnTo>
                  <a:lnTo>
                    <a:pt x="193" y="352"/>
                  </a:lnTo>
                  <a:lnTo>
                    <a:pt x="194" y="343"/>
                  </a:lnTo>
                  <a:lnTo>
                    <a:pt x="199" y="338"/>
                  </a:lnTo>
                  <a:lnTo>
                    <a:pt x="207" y="336"/>
                  </a:lnTo>
                  <a:lnTo>
                    <a:pt x="214" y="330"/>
                  </a:lnTo>
                  <a:lnTo>
                    <a:pt x="216" y="320"/>
                  </a:lnTo>
                  <a:lnTo>
                    <a:pt x="235" y="321"/>
                  </a:lnTo>
                  <a:lnTo>
                    <a:pt x="246" y="322"/>
                  </a:lnTo>
                  <a:lnTo>
                    <a:pt x="253" y="316"/>
                  </a:lnTo>
                  <a:lnTo>
                    <a:pt x="263" y="308"/>
                  </a:lnTo>
                  <a:lnTo>
                    <a:pt x="275" y="296"/>
                  </a:lnTo>
                  <a:lnTo>
                    <a:pt x="283" y="284"/>
                  </a:lnTo>
                  <a:lnTo>
                    <a:pt x="292" y="278"/>
                  </a:lnTo>
                  <a:lnTo>
                    <a:pt x="294" y="270"/>
                  </a:lnTo>
                  <a:lnTo>
                    <a:pt x="293" y="258"/>
                  </a:lnTo>
                  <a:lnTo>
                    <a:pt x="292" y="247"/>
                  </a:lnTo>
                  <a:lnTo>
                    <a:pt x="284" y="241"/>
                  </a:lnTo>
                  <a:lnTo>
                    <a:pt x="283" y="231"/>
                  </a:lnTo>
                  <a:lnTo>
                    <a:pt x="294" y="231"/>
                  </a:lnTo>
                  <a:lnTo>
                    <a:pt x="300" y="240"/>
                  </a:lnTo>
                  <a:lnTo>
                    <a:pt x="302" y="248"/>
                  </a:lnTo>
                  <a:lnTo>
                    <a:pt x="311" y="251"/>
                  </a:lnTo>
                  <a:lnTo>
                    <a:pt x="320" y="243"/>
                  </a:lnTo>
                  <a:lnTo>
                    <a:pt x="324" y="236"/>
                  </a:lnTo>
                  <a:lnTo>
                    <a:pt x="326" y="224"/>
                  </a:lnTo>
                  <a:lnTo>
                    <a:pt x="332" y="218"/>
                  </a:lnTo>
                  <a:lnTo>
                    <a:pt x="331" y="210"/>
                  </a:lnTo>
                  <a:lnTo>
                    <a:pt x="331" y="199"/>
                  </a:lnTo>
                  <a:lnTo>
                    <a:pt x="332" y="190"/>
                  </a:lnTo>
                  <a:lnTo>
                    <a:pt x="329" y="180"/>
                  </a:lnTo>
                  <a:lnTo>
                    <a:pt x="322" y="180"/>
                  </a:lnTo>
                  <a:lnTo>
                    <a:pt x="317" y="173"/>
                  </a:lnTo>
                  <a:lnTo>
                    <a:pt x="316" y="166"/>
                  </a:lnTo>
                  <a:lnTo>
                    <a:pt x="306" y="167"/>
                  </a:lnTo>
                  <a:lnTo>
                    <a:pt x="294" y="167"/>
                  </a:lnTo>
                  <a:lnTo>
                    <a:pt x="282" y="165"/>
                  </a:lnTo>
                  <a:lnTo>
                    <a:pt x="275" y="157"/>
                  </a:lnTo>
                  <a:lnTo>
                    <a:pt x="269" y="152"/>
                  </a:lnTo>
                  <a:lnTo>
                    <a:pt x="274" y="141"/>
                  </a:lnTo>
                  <a:lnTo>
                    <a:pt x="266" y="131"/>
                  </a:lnTo>
                  <a:lnTo>
                    <a:pt x="269" y="122"/>
                  </a:lnTo>
                  <a:lnTo>
                    <a:pt x="270" y="113"/>
                  </a:lnTo>
                  <a:lnTo>
                    <a:pt x="263" y="105"/>
                  </a:lnTo>
                  <a:lnTo>
                    <a:pt x="260" y="100"/>
                  </a:lnTo>
                  <a:lnTo>
                    <a:pt x="259" y="94"/>
                  </a:lnTo>
                  <a:lnTo>
                    <a:pt x="252" y="89"/>
                  </a:lnTo>
                  <a:lnTo>
                    <a:pt x="245" y="85"/>
                  </a:lnTo>
                  <a:lnTo>
                    <a:pt x="245" y="80"/>
                  </a:lnTo>
                  <a:lnTo>
                    <a:pt x="239" y="72"/>
                  </a:lnTo>
                  <a:lnTo>
                    <a:pt x="230" y="74"/>
                  </a:lnTo>
                  <a:lnTo>
                    <a:pt x="221" y="74"/>
                  </a:lnTo>
                  <a:lnTo>
                    <a:pt x="206" y="72"/>
                  </a:lnTo>
                  <a:lnTo>
                    <a:pt x="201" y="80"/>
                  </a:lnTo>
                  <a:lnTo>
                    <a:pt x="199" y="87"/>
                  </a:lnTo>
                  <a:lnTo>
                    <a:pt x="190" y="89"/>
                  </a:lnTo>
                  <a:lnTo>
                    <a:pt x="181" y="85"/>
                  </a:lnTo>
                  <a:lnTo>
                    <a:pt x="172" y="87"/>
                  </a:lnTo>
                  <a:lnTo>
                    <a:pt x="163" y="83"/>
                  </a:lnTo>
                  <a:lnTo>
                    <a:pt x="153" y="74"/>
                  </a:lnTo>
                  <a:lnTo>
                    <a:pt x="147" y="68"/>
                  </a:lnTo>
                  <a:lnTo>
                    <a:pt x="145" y="61"/>
                  </a:lnTo>
                  <a:lnTo>
                    <a:pt x="137" y="61"/>
                  </a:lnTo>
                  <a:lnTo>
                    <a:pt x="124" y="61"/>
                  </a:lnTo>
                  <a:lnTo>
                    <a:pt x="119" y="54"/>
                  </a:lnTo>
                  <a:lnTo>
                    <a:pt x="120" y="45"/>
                  </a:lnTo>
                  <a:lnTo>
                    <a:pt x="130" y="40"/>
                  </a:lnTo>
                  <a:lnTo>
                    <a:pt x="131" y="31"/>
                  </a:lnTo>
                  <a:lnTo>
                    <a:pt x="123" y="22"/>
                  </a:lnTo>
                  <a:lnTo>
                    <a:pt x="117" y="9"/>
                  </a:lnTo>
                  <a:lnTo>
                    <a:pt x="116" y="0"/>
                  </a:lnTo>
                  <a:lnTo>
                    <a:pt x="107" y="6"/>
                  </a:lnTo>
                  <a:lnTo>
                    <a:pt x="101" y="16"/>
                  </a:lnTo>
                  <a:lnTo>
                    <a:pt x="100" y="28"/>
                  </a:lnTo>
                  <a:lnTo>
                    <a:pt x="106" y="36"/>
                  </a:lnTo>
                  <a:lnTo>
                    <a:pt x="110" y="48"/>
                  </a:lnTo>
                  <a:lnTo>
                    <a:pt x="111" y="58"/>
                  </a:lnTo>
                  <a:lnTo>
                    <a:pt x="112" y="69"/>
                  </a:lnTo>
                  <a:lnTo>
                    <a:pt x="110" y="80"/>
                  </a:lnTo>
                  <a:lnTo>
                    <a:pt x="104" y="86"/>
                  </a:lnTo>
                  <a:lnTo>
                    <a:pt x="99" y="98"/>
                  </a:lnTo>
                  <a:lnTo>
                    <a:pt x="98" y="110"/>
                  </a:lnTo>
                  <a:lnTo>
                    <a:pt x="93" y="128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F81F0C3C-1E74-4C9E-B2A9-DE54D3846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" y="1880"/>
              <a:ext cx="159" cy="133"/>
            </a:xfrm>
            <a:custGeom>
              <a:avLst/>
              <a:gdLst>
                <a:gd name="T0" fmla="*/ 30 w 159"/>
                <a:gd name="T1" fmla="*/ 81 h 133"/>
                <a:gd name="T2" fmla="*/ 21 w 159"/>
                <a:gd name="T3" fmla="*/ 75 h 133"/>
                <a:gd name="T4" fmla="*/ 20 w 159"/>
                <a:gd name="T5" fmla="*/ 66 h 133"/>
                <a:gd name="T6" fmla="*/ 14 w 159"/>
                <a:gd name="T7" fmla="*/ 56 h 133"/>
                <a:gd name="T8" fmla="*/ 7 w 159"/>
                <a:gd name="T9" fmla="*/ 50 h 133"/>
                <a:gd name="T10" fmla="*/ 0 w 159"/>
                <a:gd name="T11" fmla="*/ 40 h 133"/>
                <a:gd name="T12" fmla="*/ 12 w 159"/>
                <a:gd name="T13" fmla="*/ 34 h 133"/>
                <a:gd name="T14" fmla="*/ 17 w 159"/>
                <a:gd name="T15" fmla="*/ 26 h 133"/>
                <a:gd name="T16" fmla="*/ 25 w 159"/>
                <a:gd name="T17" fmla="*/ 19 h 133"/>
                <a:gd name="T18" fmla="*/ 32 w 159"/>
                <a:gd name="T19" fmla="*/ 19 h 133"/>
                <a:gd name="T20" fmla="*/ 39 w 159"/>
                <a:gd name="T21" fmla="*/ 11 h 133"/>
                <a:gd name="T22" fmla="*/ 54 w 159"/>
                <a:gd name="T23" fmla="*/ 11 h 133"/>
                <a:gd name="T24" fmla="*/ 50 w 159"/>
                <a:gd name="T25" fmla="*/ 0 h 133"/>
                <a:gd name="T26" fmla="*/ 60 w 159"/>
                <a:gd name="T27" fmla="*/ 5 h 133"/>
                <a:gd name="T28" fmla="*/ 74 w 159"/>
                <a:gd name="T29" fmla="*/ 5 h 133"/>
                <a:gd name="T30" fmla="*/ 79 w 159"/>
                <a:gd name="T31" fmla="*/ 15 h 133"/>
                <a:gd name="T32" fmla="*/ 74 w 159"/>
                <a:gd name="T33" fmla="*/ 22 h 133"/>
                <a:gd name="T34" fmla="*/ 82 w 159"/>
                <a:gd name="T35" fmla="*/ 23 h 133"/>
                <a:gd name="T36" fmla="*/ 91 w 159"/>
                <a:gd name="T37" fmla="*/ 19 h 133"/>
                <a:gd name="T38" fmla="*/ 100 w 159"/>
                <a:gd name="T39" fmla="*/ 21 h 133"/>
                <a:gd name="T40" fmla="*/ 100 w 159"/>
                <a:gd name="T41" fmla="*/ 28 h 133"/>
                <a:gd name="T42" fmla="*/ 86 w 159"/>
                <a:gd name="T43" fmla="*/ 35 h 133"/>
                <a:gd name="T44" fmla="*/ 85 w 159"/>
                <a:gd name="T45" fmla="*/ 43 h 133"/>
                <a:gd name="T46" fmla="*/ 85 w 159"/>
                <a:gd name="T47" fmla="*/ 50 h 133"/>
                <a:gd name="T48" fmla="*/ 82 w 159"/>
                <a:gd name="T49" fmla="*/ 60 h 133"/>
                <a:gd name="T50" fmla="*/ 82 w 159"/>
                <a:gd name="T51" fmla="*/ 69 h 133"/>
                <a:gd name="T52" fmla="*/ 92 w 159"/>
                <a:gd name="T53" fmla="*/ 70 h 133"/>
                <a:gd name="T54" fmla="*/ 99 w 159"/>
                <a:gd name="T55" fmla="*/ 73 h 133"/>
                <a:gd name="T56" fmla="*/ 101 w 159"/>
                <a:gd name="T57" fmla="*/ 81 h 133"/>
                <a:gd name="T58" fmla="*/ 106 w 159"/>
                <a:gd name="T59" fmla="*/ 87 h 133"/>
                <a:gd name="T60" fmla="*/ 123 w 159"/>
                <a:gd name="T61" fmla="*/ 85 h 133"/>
                <a:gd name="T62" fmla="*/ 134 w 159"/>
                <a:gd name="T63" fmla="*/ 85 h 133"/>
                <a:gd name="T64" fmla="*/ 137 w 159"/>
                <a:gd name="T65" fmla="*/ 90 h 133"/>
                <a:gd name="T66" fmla="*/ 148 w 159"/>
                <a:gd name="T67" fmla="*/ 91 h 133"/>
                <a:gd name="T68" fmla="*/ 148 w 159"/>
                <a:gd name="T69" fmla="*/ 98 h 133"/>
                <a:gd name="T70" fmla="*/ 159 w 159"/>
                <a:gd name="T71" fmla="*/ 103 h 133"/>
                <a:gd name="T72" fmla="*/ 159 w 159"/>
                <a:gd name="T73" fmla="*/ 114 h 133"/>
                <a:gd name="T74" fmla="*/ 156 w 159"/>
                <a:gd name="T75" fmla="*/ 120 h 133"/>
                <a:gd name="T76" fmla="*/ 145 w 159"/>
                <a:gd name="T77" fmla="*/ 126 h 133"/>
                <a:gd name="T78" fmla="*/ 135 w 159"/>
                <a:gd name="T79" fmla="*/ 123 h 133"/>
                <a:gd name="T80" fmla="*/ 124 w 159"/>
                <a:gd name="T81" fmla="*/ 121 h 133"/>
                <a:gd name="T82" fmla="*/ 112 w 159"/>
                <a:gd name="T83" fmla="*/ 122 h 133"/>
                <a:gd name="T84" fmla="*/ 103 w 159"/>
                <a:gd name="T85" fmla="*/ 123 h 133"/>
                <a:gd name="T86" fmla="*/ 105 w 159"/>
                <a:gd name="T87" fmla="*/ 128 h 133"/>
                <a:gd name="T88" fmla="*/ 93 w 159"/>
                <a:gd name="T89" fmla="*/ 133 h 133"/>
                <a:gd name="T90" fmla="*/ 89 w 159"/>
                <a:gd name="T91" fmla="*/ 121 h 133"/>
                <a:gd name="T92" fmla="*/ 81 w 159"/>
                <a:gd name="T93" fmla="*/ 119 h 133"/>
                <a:gd name="T94" fmla="*/ 74 w 159"/>
                <a:gd name="T95" fmla="*/ 117 h 133"/>
                <a:gd name="T96" fmla="*/ 67 w 159"/>
                <a:gd name="T97" fmla="*/ 111 h 133"/>
                <a:gd name="T98" fmla="*/ 70 w 159"/>
                <a:gd name="T99" fmla="*/ 98 h 133"/>
                <a:gd name="T100" fmla="*/ 58 w 159"/>
                <a:gd name="T101" fmla="*/ 98 h 133"/>
                <a:gd name="T102" fmla="*/ 56 w 159"/>
                <a:gd name="T103" fmla="*/ 93 h 133"/>
                <a:gd name="T104" fmla="*/ 49 w 159"/>
                <a:gd name="T105" fmla="*/ 85 h 133"/>
                <a:gd name="T106" fmla="*/ 39 w 159"/>
                <a:gd name="T107" fmla="*/ 80 h 133"/>
                <a:gd name="T108" fmla="*/ 30 w 159"/>
                <a:gd name="T109" fmla="*/ 8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9" h="133">
                  <a:moveTo>
                    <a:pt x="30" y="81"/>
                  </a:moveTo>
                  <a:lnTo>
                    <a:pt x="21" y="75"/>
                  </a:lnTo>
                  <a:lnTo>
                    <a:pt x="20" y="66"/>
                  </a:lnTo>
                  <a:lnTo>
                    <a:pt x="14" y="56"/>
                  </a:lnTo>
                  <a:lnTo>
                    <a:pt x="7" y="50"/>
                  </a:lnTo>
                  <a:lnTo>
                    <a:pt x="0" y="40"/>
                  </a:lnTo>
                  <a:lnTo>
                    <a:pt x="12" y="34"/>
                  </a:lnTo>
                  <a:lnTo>
                    <a:pt x="17" y="26"/>
                  </a:lnTo>
                  <a:lnTo>
                    <a:pt x="25" y="19"/>
                  </a:lnTo>
                  <a:lnTo>
                    <a:pt x="32" y="19"/>
                  </a:lnTo>
                  <a:lnTo>
                    <a:pt x="39" y="11"/>
                  </a:lnTo>
                  <a:lnTo>
                    <a:pt x="54" y="11"/>
                  </a:lnTo>
                  <a:lnTo>
                    <a:pt x="50" y="0"/>
                  </a:lnTo>
                  <a:lnTo>
                    <a:pt x="60" y="5"/>
                  </a:lnTo>
                  <a:lnTo>
                    <a:pt x="74" y="5"/>
                  </a:lnTo>
                  <a:lnTo>
                    <a:pt x="79" y="15"/>
                  </a:lnTo>
                  <a:lnTo>
                    <a:pt x="74" y="22"/>
                  </a:lnTo>
                  <a:lnTo>
                    <a:pt x="82" y="23"/>
                  </a:lnTo>
                  <a:lnTo>
                    <a:pt x="91" y="19"/>
                  </a:lnTo>
                  <a:lnTo>
                    <a:pt x="100" y="21"/>
                  </a:lnTo>
                  <a:lnTo>
                    <a:pt x="100" y="28"/>
                  </a:lnTo>
                  <a:lnTo>
                    <a:pt x="86" y="35"/>
                  </a:lnTo>
                  <a:lnTo>
                    <a:pt x="85" y="43"/>
                  </a:lnTo>
                  <a:lnTo>
                    <a:pt x="85" y="50"/>
                  </a:lnTo>
                  <a:lnTo>
                    <a:pt x="82" y="60"/>
                  </a:lnTo>
                  <a:lnTo>
                    <a:pt x="82" y="69"/>
                  </a:lnTo>
                  <a:lnTo>
                    <a:pt x="92" y="70"/>
                  </a:lnTo>
                  <a:lnTo>
                    <a:pt x="99" y="73"/>
                  </a:lnTo>
                  <a:lnTo>
                    <a:pt x="101" y="81"/>
                  </a:lnTo>
                  <a:lnTo>
                    <a:pt x="106" y="87"/>
                  </a:lnTo>
                  <a:lnTo>
                    <a:pt x="123" y="85"/>
                  </a:lnTo>
                  <a:lnTo>
                    <a:pt x="134" y="85"/>
                  </a:lnTo>
                  <a:lnTo>
                    <a:pt x="137" y="90"/>
                  </a:lnTo>
                  <a:lnTo>
                    <a:pt x="148" y="91"/>
                  </a:lnTo>
                  <a:lnTo>
                    <a:pt x="148" y="98"/>
                  </a:lnTo>
                  <a:lnTo>
                    <a:pt x="159" y="103"/>
                  </a:lnTo>
                  <a:lnTo>
                    <a:pt x="159" y="114"/>
                  </a:lnTo>
                  <a:lnTo>
                    <a:pt x="156" y="120"/>
                  </a:lnTo>
                  <a:lnTo>
                    <a:pt x="145" y="126"/>
                  </a:lnTo>
                  <a:lnTo>
                    <a:pt x="135" y="123"/>
                  </a:lnTo>
                  <a:lnTo>
                    <a:pt x="124" y="121"/>
                  </a:lnTo>
                  <a:lnTo>
                    <a:pt x="112" y="122"/>
                  </a:lnTo>
                  <a:lnTo>
                    <a:pt x="103" y="123"/>
                  </a:lnTo>
                  <a:lnTo>
                    <a:pt x="105" y="128"/>
                  </a:lnTo>
                  <a:lnTo>
                    <a:pt x="93" y="133"/>
                  </a:lnTo>
                  <a:lnTo>
                    <a:pt x="89" y="121"/>
                  </a:lnTo>
                  <a:lnTo>
                    <a:pt x="81" y="119"/>
                  </a:lnTo>
                  <a:lnTo>
                    <a:pt x="74" y="117"/>
                  </a:lnTo>
                  <a:lnTo>
                    <a:pt x="67" y="111"/>
                  </a:lnTo>
                  <a:lnTo>
                    <a:pt x="70" y="98"/>
                  </a:lnTo>
                  <a:lnTo>
                    <a:pt x="58" y="98"/>
                  </a:lnTo>
                  <a:lnTo>
                    <a:pt x="56" y="93"/>
                  </a:lnTo>
                  <a:lnTo>
                    <a:pt x="49" y="85"/>
                  </a:lnTo>
                  <a:lnTo>
                    <a:pt x="39" y="80"/>
                  </a:lnTo>
                  <a:lnTo>
                    <a:pt x="30" y="81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1513B6EB-D8CF-4A8C-B13F-A94822576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" y="1880"/>
              <a:ext cx="159" cy="133"/>
            </a:xfrm>
            <a:custGeom>
              <a:avLst/>
              <a:gdLst>
                <a:gd name="T0" fmla="*/ 30 w 159"/>
                <a:gd name="T1" fmla="*/ 81 h 133"/>
                <a:gd name="T2" fmla="*/ 21 w 159"/>
                <a:gd name="T3" fmla="*/ 75 h 133"/>
                <a:gd name="T4" fmla="*/ 20 w 159"/>
                <a:gd name="T5" fmla="*/ 66 h 133"/>
                <a:gd name="T6" fmla="*/ 14 w 159"/>
                <a:gd name="T7" fmla="*/ 56 h 133"/>
                <a:gd name="T8" fmla="*/ 7 w 159"/>
                <a:gd name="T9" fmla="*/ 50 h 133"/>
                <a:gd name="T10" fmla="*/ 0 w 159"/>
                <a:gd name="T11" fmla="*/ 40 h 133"/>
                <a:gd name="T12" fmla="*/ 12 w 159"/>
                <a:gd name="T13" fmla="*/ 34 h 133"/>
                <a:gd name="T14" fmla="*/ 17 w 159"/>
                <a:gd name="T15" fmla="*/ 26 h 133"/>
                <a:gd name="T16" fmla="*/ 25 w 159"/>
                <a:gd name="T17" fmla="*/ 19 h 133"/>
                <a:gd name="T18" fmla="*/ 32 w 159"/>
                <a:gd name="T19" fmla="*/ 19 h 133"/>
                <a:gd name="T20" fmla="*/ 39 w 159"/>
                <a:gd name="T21" fmla="*/ 11 h 133"/>
                <a:gd name="T22" fmla="*/ 54 w 159"/>
                <a:gd name="T23" fmla="*/ 11 h 133"/>
                <a:gd name="T24" fmla="*/ 50 w 159"/>
                <a:gd name="T25" fmla="*/ 0 h 133"/>
                <a:gd name="T26" fmla="*/ 60 w 159"/>
                <a:gd name="T27" fmla="*/ 5 h 133"/>
                <a:gd name="T28" fmla="*/ 74 w 159"/>
                <a:gd name="T29" fmla="*/ 5 h 133"/>
                <a:gd name="T30" fmla="*/ 79 w 159"/>
                <a:gd name="T31" fmla="*/ 15 h 133"/>
                <a:gd name="T32" fmla="*/ 74 w 159"/>
                <a:gd name="T33" fmla="*/ 22 h 133"/>
                <a:gd name="T34" fmla="*/ 82 w 159"/>
                <a:gd name="T35" fmla="*/ 23 h 133"/>
                <a:gd name="T36" fmla="*/ 91 w 159"/>
                <a:gd name="T37" fmla="*/ 19 h 133"/>
                <a:gd name="T38" fmla="*/ 100 w 159"/>
                <a:gd name="T39" fmla="*/ 21 h 133"/>
                <a:gd name="T40" fmla="*/ 100 w 159"/>
                <a:gd name="T41" fmla="*/ 28 h 133"/>
                <a:gd name="T42" fmla="*/ 86 w 159"/>
                <a:gd name="T43" fmla="*/ 35 h 133"/>
                <a:gd name="T44" fmla="*/ 85 w 159"/>
                <a:gd name="T45" fmla="*/ 43 h 133"/>
                <a:gd name="T46" fmla="*/ 85 w 159"/>
                <a:gd name="T47" fmla="*/ 50 h 133"/>
                <a:gd name="T48" fmla="*/ 82 w 159"/>
                <a:gd name="T49" fmla="*/ 60 h 133"/>
                <a:gd name="T50" fmla="*/ 82 w 159"/>
                <a:gd name="T51" fmla="*/ 69 h 133"/>
                <a:gd name="T52" fmla="*/ 92 w 159"/>
                <a:gd name="T53" fmla="*/ 70 h 133"/>
                <a:gd name="T54" fmla="*/ 99 w 159"/>
                <a:gd name="T55" fmla="*/ 73 h 133"/>
                <a:gd name="T56" fmla="*/ 101 w 159"/>
                <a:gd name="T57" fmla="*/ 81 h 133"/>
                <a:gd name="T58" fmla="*/ 106 w 159"/>
                <a:gd name="T59" fmla="*/ 87 h 133"/>
                <a:gd name="T60" fmla="*/ 123 w 159"/>
                <a:gd name="T61" fmla="*/ 85 h 133"/>
                <a:gd name="T62" fmla="*/ 134 w 159"/>
                <a:gd name="T63" fmla="*/ 85 h 133"/>
                <a:gd name="T64" fmla="*/ 137 w 159"/>
                <a:gd name="T65" fmla="*/ 90 h 133"/>
                <a:gd name="T66" fmla="*/ 148 w 159"/>
                <a:gd name="T67" fmla="*/ 91 h 133"/>
                <a:gd name="T68" fmla="*/ 148 w 159"/>
                <a:gd name="T69" fmla="*/ 98 h 133"/>
                <a:gd name="T70" fmla="*/ 159 w 159"/>
                <a:gd name="T71" fmla="*/ 103 h 133"/>
                <a:gd name="T72" fmla="*/ 159 w 159"/>
                <a:gd name="T73" fmla="*/ 114 h 133"/>
                <a:gd name="T74" fmla="*/ 156 w 159"/>
                <a:gd name="T75" fmla="*/ 120 h 133"/>
                <a:gd name="T76" fmla="*/ 145 w 159"/>
                <a:gd name="T77" fmla="*/ 126 h 133"/>
                <a:gd name="T78" fmla="*/ 135 w 159"/>
                <a:gd name="T79" fmla="*/ 123 h 133"/>
                <a:gd name="T80" fmla="*/ 124 w 159"/>
                <a:gd name="T81" fmla="*/ 121 h 133"/>
                <a:gd name="T82" fmla="*/ 112 w 159"/>
                <a:gd name="T83" fmla="*/ 122 h 133"/>
                <a:gd name="T84" fmla="*/ 103 w 159"/>
                <a:gd name="T85" fmla="*/ 123 h 133"/>
                <a:gd name="T86" fmla="*/ 105 w 159"/>
                <a:gd name="T87" fmla="*/ 128 h 133"/>
                <a:gd name="T88" fmla="*/ 93 w 159"/>
                <a:gd name="T89" fmla="*/ 133 h 133"/>
                <a:gd name="T90" fmla="*/ 89 w 159"/>
                <a:gd name="T91" fmla="*/ 121 h 133"/>
                <a:gd name="T92" fmla="*/ 81 w 159"/>
                <a:gd name="T93" fmla="*/ 119 h 133"/>
                <a:gd name="T94" fmla="*/ 74 w 159"/>
                <a:gd name="T95" fmla="*/ 117 h 133"/>
                <a:gd name="T96" fmla="*/ 67 w 159"/>
                <a:gd name="T97" fmla="*/ 111 h 133"/>
                <a:gd name="T98" fmla="*/ 70 w 159"/>
                <a:gd name="T99" fmla="*/ 98 h 133"/>
                <a:gd name="T100" fmla="*/ 58 w 159"/>
                <a:gd name="T101" fmla="*/ 98 h 133"/>
                <a:gd name="T102" fmla="*/ 56 w 159"/>
                <a:gd name="T103" fmla="*/ 93 h 133"/>
                <a:gd name="T104" fmla="*/ 49 w 159"/>
                <a:gd name="T105" fmla="*/ 85 h 133"/>
                <a:gd name="T106" fmla="*/ 39 w 159"/>
                <a:gd name="T107" fmla="*/ 80 h 133"/>
                <a:gd name="T108" fmla="*/ 30 w 159"/>
                <a:gd name="T109" fmla="*/ 8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9" h="133">
                  <a:moveTo>
                    <a:pt x="30" y="81"/>
                  </a:moveTo>
                  <a:lnTo>
                    <a:pt x="21" y="75"/>
                  </a:lnTo>
                  <a:lnTo>
                    <a:pt x="20" y="66"/>
                  </a:lnTo>
                  <a:lnTo>
                    <a:pt x="14" y="56"/>
                  </a:lnTo>
                  <a:lnTo>
                    <a:pt x="7" y="50"/>
                  </a:lnTo>
                  <a:lnTo>
                    <a:pt x="0" y="40"/>
                  </a:lnTo>
                  <a:lnTo>
                    <a:pt x="12" y="34"/>
                  </a:lnTo>
                  <a:lnTo>
                    <a:pt x="17" y="26"/>
                  </a:lnTo>
                  <a:lnTo>
                    <a:pt x="25" y="19"/>
                  </a:lnTo>
                  <a:lnTo>
                    <a:pt x="32" y="19"/>
                  </a:lnTo>
                  <a:lnTo>
                    <a:pt x="39" y="11"/>
                  </a:lnTo>
                  <a:lnTo>
                    <a:pt x="54" y="11"/>
                  </a:lnTo>
                  <a:lnTo>
                    <a:pt x="50" y="0"/>
                  </a:lnTo>
                  <a:lnTo>
                    <a:pt x="60" y="5"/>
                  </a:lnTo>
                  <a:lnTo>
                    <a:pt x="74" y="5"/>
                  </a:lnTo>
                  <a:lnTo>
                    <a:pt x="79" y="15"/>
                  </a:lnTo>
                  <a:lnTo>
                    <a:pt x="74" y="22"/>
                  </a:lnTo>
                  <a:lnTo>
                    <a:pt x="82" y="23"/>
                  </a:lnTo>
                  <a:lnTo>
                    <a:pt x="91" y="19"/>
                  </a:lnTo>
                  <a:lnTo>
                    <a:pt x="100" y="21"/>
                  </a:lnTo>
                  <a:lnTo>
                    <a:pt x="100" y="28"/>
                  </a:lnTo>
                  <a:lnTo>
                    <a:pt x="86" y="35"/>
                  </a:lnTo>
                  <a:lnTo>
                    <a:pt x="85" y="43"/>
                  </a:lnTo>
                  <a:lnTo>
                    <a:pt x="85" y="50"/>
                  </a:lnTo>
                  <a:lnTo>
                    <a:pt x="82" y="60"/>
                  </a:lnTo>
                  <a:lnTo>
                    <a:pt x="82" y="69"/>
                  </a:lnTo>
                  <a:lnTo>
                    <a:pt x="92" y="70"/>
                  </a:lnTo>
                  <a:lnTo>
                    <a:pt x="99" y="73"/>
                  </a:lnTo>
                  <a:lnTo>
                    <a:pt x="101" y="81"/>
                  </a:lnTo>
                  <a:lnTo>
                    <a:pt x="106" y="87"/>
                  </a:lnTo>
                  <a:lnTo>
                    <a:pt x="123" y="85"/>
                  </a:lnTo>
                  <a:lnTo>
                    <a:pt x="134" y="85"/>
                  </a:lnTo>
                  <a:lnTo>
                    <a:pt x="137" y="90"/>
                  </a:lnTo>
                  <a:lnTo>
                    <a:pt x="148" y="91"/>
                  </a:lnTo>
                  <a:lnTo>
                    <a:pt x="148" y="98"/>
                  </a:lnTo>
                  <a:lnTo>
                    <a:pt x="159" y="103"/>
                  </a:lnTo>
                  <a:lnTo>
                    <a:pt x="159" y="114"/>
                  </a:lnTo>
                  <a:lnTo>
                    <a:pt x="156" y="120"/>
                  </a:lnTo>
                  <a:lnTo>
                    <a:pt x="145" y="126"/>
                  </a:lnTo>
                  <a:lnTo>
                    <a:pt x="135" y="123"/>
                  </a:lnTo>
                  <a:lnTo>
                    <a:pt x="124" y="121"/>
                  </a:lnTo>
                  <a:lnTo>
                    <a:pt x="112" y="122"/>
                  </a:lnTo>
                  <a:lnTo>
                    <a:pt x="103" y="123"/>
                  </a:lnTo>
                  <a:lnTo>
                    <a:pt x="105" y="128"/>
                  </a:lnTo>
                  <a:lnTo>
                    <a:pt x="93" y="133"/>
                  </a:lnTo>
                  <a:lnTo>
                    <a:pt x="89" y="121"/>
                  </a:lnTo>
                  <a:lnTo>
                    <a:pt x="81" y="119"/>
                  </a:lnTo>
                  <a:lnTo>
                    <a:pt x="74" y="117"/>
                  </a:lnTo>
                  <a:lnTo>
                    <a:pt x="67" y="111"/>
                  </a:lnTo>
                  <a:lnTo>
                    <a:pt x="70" y="98"/>
                  </a:lnTo>
                  <a:lnTo>
                    <a:pt x="58" y="98"/>
                  </a:lnTo>
                  <a:lnTo>
                    <a:pt x="56" y="93"/>
                  </a:lnTo>
                  <a:lnTo>
                    <a:pt x="49" y="85"/>
                  </a:lnTo>
                  <a:lnTo>
                    <a:pt x="39" y="80"/>
                  </a:lnTo>
                  <a:lnTo>
                    <a:pt x="30" y="81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3CA5A0CB-A77F-4DBD-A2C1-C02967416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" y="1962"/>
              <a:ext cx="297" cy="301"/>
            </a:xfrm>
            <a:custGeom>
              <a:avLst/>
              <a:gdLst>
                <a:gd name="T0" fmla="*/ 265 w 297"/>
                <a:gd name="T1" fmla="*/ 60 h 301"/>
                <a:gd name="T2" fmla="*/ 273 w 297"/>
                <a:gd name="T3" fmla="*/ 86 h 301"/>
                <a:gd name="T4" fmla="*/ 280 w 297"/>
                <a:gd name="T5" fmla="*/ 116 h 301"/>
                <a:gd name="T6" fmla="*/ 293 w 297"/>
                <a:gd name="T7" fmla="*/ 138 h 301"/>
                <a:gd name="T8" fmla="*/ 287 w 297"/>
                <a:gd name="T9" fmla="*/ 157 h 301"/>
                <a:gd name="T10" fmla="*/ 263 w 297"/>
                <a:gd name="T11" fmla="*/ 181 h 301"/>
                <a:gd name="T12" fmla="*/ 255 w 297"/>
                <a:gd name="T13" fmla="*/ 216 h 301"/>
                <a:gd name="T14" fmla="*/ 247 w 297"/>
                <a:gd name="T15" fmla="*/ 252 h 301"/>
                <a:gd name="T16" fmla="*/ 232 w 297"/>
                <a:gd name="T17" fmla="*/ 271 h 301"/>
                <a:gd name="T18" fmla="*/ 203 w 297"/>
                <a:gd name="T19" fmla="*/ 259 h 301"/>
                <a:gd name="T20" fmla="*/ 173 w 297"/>
                <a:gd name="T21" fmla="*/ 260 h 301"/>
                <a:gd name="T22" fmla="*/ 170 w 297"/>
                <a:gd name="T23" fmla="*/ 285 h 301"/>
                <a:gd name="T24" fmla="*/ 135 w 297"/>
                <a:gd name="T25" fmla="*/ 293 h 301"/>
                <a:gd name="T26" fmla="*/ 119 w 297"/>
                <a:gd name="T27" fmla="*/ 301 h 301"/>
                <a:gd name="T28" fmla="*/ 88 w 297"/>
                <a:gd name="T29" fmla="*/ 295 h 301"/>
                <a:gd name="T30" fmla="*/ 56 w 297"/>
                <a:gd name="T31" fmla="*/ 293 h 301"/>
                <a:gd name="T32" fmla="*/ 38 w 297"/>
                <a:gd name="T33" fmla="*/ 283 h 301"/>
                <a:gd name="T34" fmla="*/ 16 w 297"/>
                <a:gd name="T35" fmla="*/ 271 h 301"/>
                <a:gd name="T36" fmla="*/ 14 w 297"/>
                <a:gd name="T37" fmla="*/ 259 h 301"/>
                <a:gd name="T38" fmla="*/ 34 w 297"/>
                <a:gd name="T39" fmla="*/ 246 h 301"/>
                <a:gd name="T40" fmla="*/ 50 w 297"/>
                <a:gd name="T41" fmla="*/ 217 h 301"/>
                <a:gd name="T42" fmla="*/ 65 w 297"/>
                <a:gd name="T43" fmla="*/ 204 h 301"/>
                <a:gd name="T44" fmla="*/ 71 w 297"/>
                <a:gd name="T45" fmla="*/ 190 h 301"/>
                <a:gd name="T46" fmla="*/ 76 w 297"/>
                <a:gd name="T47" fmla="*/ 179 h 301"/>
                <a:gd name="T48" fmla="*/ 78 w 297"/>
                <a:gd name="T49" fmla="*/ 170 h 301"/>
                <a:gd name="T50" fmla="*/ 74 w 297"/>
                <a:gd name="T51" fmla="*/ 168 h 301"/>
                <a:gd name="T52" fmla="*/ 60 w 297"/>
                <a:gd name="T53" fmla="*/ 175 h 301"/>
                <a:gd name="T54" fmla="*/ 36 w 297"/>
                <a:gd name="T55" fmla="*/ 168 h 301"/>
                <a:gd name="T56" fmla="*/ 40 w 297"/>
                <a:gd name="T57" fmla="*/ 150 h 301"/>
                <a:gd name="T58" fmla="*/ 22 w 297"/>
                <a:gd name="T59" fmla="*/ 162 h 301"/>
                <a:gd name="T60" fmla="*/ 8 w 297"/>
                <a:gd name="T61" fmla="*/ 150 h 301"/>
                <a:gd name="T62" fmla="*/ 22 w 297"/>
                <a:gd name="T63" fmla="*/ 138 h 301"/>
                <a:gd name="T64" fmla="*/ 39 w 297"/>
                <a:gd name="T65" fmla="*/ 125 h 301"/>
                <a:gd name="T66" fmla="*/ 72 w 297"/>
                <a:gd name="T67" fmla="*/ 135 h 301"/>
                <a:gd name="T68" fmla="*/ 106 w 297"/>
                <a:gd name="T69" fmla="*/ 146 h 301"/>
                <a:gd name="T70" fmla="*/ 136 w 297"/>
                <a:gd name="T71" fmla="*/ 149 h 301"/>
                <a:gd name="T72" fmla="*/ 167 w 297"/>
                <a:gd name="T73" fmla="*/ 135 h 301"/>
                <a:gd name="T74" fmla="*/ 161 w 297"/>
                <a:gd name="T75" fmla="*/ 118 h 301"/>
                <a:gd name="T76" fmla="*/ 151 w 297"/>
                <a:gd name="T77" fmla="*/ 88 h 301"/>
                <a:gd name="T78" fmla="*/ 175 w 297"/>
                <a:gd name="T79" fmla="*/ 55 h 301"/>
                <a:gd name="T80" fmla="*/ 198 w 297"/>
                <a:gd name="T81" fmla="*/ 31 h 301"/>
                <a:gd name="T82" fmla="*/ 214 w 297"/>
                <a:gd name="T83" fmla="*/ 1 h 301"/>
                <a:gd name="T84" fmla="*/ 239 w 297"/>
                <a:gd name="T85" fmla="*/ 13 h 301"/>
                <a:gd name="T86" fmla="*/ 250 w 297"/>
                <a:gd name="T87" fmla="*/ 31 h 301"/>
                <a:gd name="T88" fmla="*/ 273 w 297"/>
                <a:gd name="T89" fmla="*/ 4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301">
                  <a:moveTo>
                    <a:pt x="277" y="53"/>
                  </a:moveTo>
                  <a:lnTo>
                    <a:pt x="269" y="54"/>
                  </a:lnTo>
                  <a:lnTo>
                    <a:pt x="265" y="60"/>
                  </a:lnTo>
                  <a:lnTo>
                    <a:pt x="267" y="69"/>
                  </a:lnTo>
                  <a:lnTo>
                    <a:pt x="268" y="79"/>
                  </a:lnTo>
                  <a:lnTo>
                    <a:pt x="273" y="86"/>
                  </a:lnTo>
                  <a:lnTo>
                    <a:pt x="279" y="94"/>
                  </a:lnTo>
                  <a:lnTo>
                    <a:pt x="277" y="103"/>
                  </a:lnTo>
                  <a:lnTo>
                    <a:pt x="280" y="116"/>
                  </a:lnTo>
                  <a:lnTo>
                    <a:pt x="280" y="127"/>
                  </a:lnTo>
                  <a:lnTo>
                    <a:pt x="285" y="135"/>
                  </a:lnTo>
                  <a:lnTo>
                    <a:pt x="293" y="138"/>
                  </a:lnTo>
                  <a:lnTo>
                    <a:pt x="297" y="144"/>
                  </a:lnTo>
                  <a:lnTo>
                    <a:pt x="293" y="151"/>
                  </a:lnTo>
                  <a:lnTo>
                    <a:pt x="287" y="157"/>
                  </a:lnTo>
                  <a:lnTo>
                    <a:pt x="276" y="159"/>
                  </a:lnTo>
                  <a:lnTo>
                    <a:pt x="266" y="168"/>
                  </a:lnTo>
                  <a:lnTo>
                    <a:pt x="263" y="181"/>
                  </a:lnTo>
                  <a:lnTo>
                    <a:pt x="260" y="195"/>
                  </a:lnTo>
                  <a:lnTo>
                    <a:pt x="254" y="204"/>
                  </a:lnTo>
                  <a:lnTo>
                    <a:pt x="255" y="216"/>
                  </a:lnTo>
                  <a:lnTo>
                    <a:pt x="250" y="228"/>
                  </a:lnTo>
                  <a:lnTo>
                    <a:pt x="249" y="240"/>
                  </a:lnTo>
                  <a:lnTo>
                    <a:pt x="247" y="252"/>
                  </a:lnTo>
                  <a:lnTo>
                    <a:pt x="242" y="261"/>
                  </a:lnTo>
                  <a:lnTo>
                    <a:pt x="239" y="271"/>
                  </a:lnTo>
                  <a:lnTo>
                    <a:pt x="232" y="271"/>
                  </a:lnTo>
                  <a:lnTo>
                    <a:pt x="222" y="268"/>
                  </a:lnTo>
                  <a:lnTo>
                    <a:pt x="212" y="259"/>
                  </a:lnTo>
                  <a:lnTo>
                    <a:pt x="203" y="259"/>
                  </a:lnTo>
                  <a:lnTo>
                    <a:pt x="191" y="263"/>
                  </a:lnTo>
                  <a:lnTo>
                    <a:pt x="181" y="255"/>
                  </a:lnTo>
                  <a:lnTo>
                    <a:pt x="173" y="260"/>
                  </a:lnTo>
                  <a:lnTo>
                    <a:pt x="171" y="268"/>
                  </a:lnTo>
                  <a:lnTo>
                    <a:pt x="170" y="277"/>
                  </a:lnTo>
                  <a:lnTo>
                    <a:pt x="170" y="285"/>
                  </a:lnTo>
                  <a:lnTo>
                    <a:pt x="159" y="288"/>
                  </a:lnTo>
                  <a:lnTo>
                    <a:pt x="145" y="288"/>
                  </a:lnTo>
                  <a:lnTo>
                    <a:pt x="135" y="293"/>
                  </a:lnTo>
                  <a:lnTo>
                    <a:pt x="127" y="288"/>
                  </a:lnTo>
                  <a:lnTo>
                    <a:pt x="125" y="295"/>
                  </a:lnTo>
                  <a:lnTo>
                    <a:pt x="119" y="301"/>
                  </a:lnTo>
                  <a:lnTo>
                    <a:pt x="108" y="300"/>
                  </a:lnTo>
                  <a:lnTo>
                    <a:pt x="96" y="290"/>
                  </a:lnTo>
                  <a:lnTo>
                    <a:pt x="88" y="295"/>
                  </a:lnTo>
                  <a:lnTo>
                    <a:pt x="76" y="293"/>
                  </a:lnTo>
                  <a:lnTo>
                    <a:pt x="65" y="290"/>
                  </a:lnTo>
                  <a:lnTo>
                    <a:pt x="56" y="293"/>
                  </a:lnTo>
                  <a:lnTo>
                    <a:pt x="52" y="284"/>
                  </a:lnTo>
                  <a:lnTo>
                    <a:pt x="43" y="280"/>
                  </a:lnTo>
                  <a:lnTo>
                    <a:pt x="38" y="283"/>
                  </a:lnTo>
                  <a:lnTo>
                    <a:pt x="30" y="277"/>
                  </a:lnTo>
                  <a:lnTo>
                    <a:pt x="26" y="269"/>
                  </a:lnTo>
                  <a:lnTo>
                    <a:pt x="16" y="271"/>
                  </a:lnTo>
                  <a:lnTo>
                    <a:pt x="5" y="277"/>
                  </a:lnTo>
                  <a:lnTo>
                    <a:pt x="6" y="268"/>
                  </a:lnTo>
                  <a:lnTo>
                    <a:pt x="14" y="259"/>
                  </a:lnTo>
                  <a:lnTo>
                    <a:pt x="21" y="253"/>
                  </a:lnTo>
                  <a:lnTo>
                    <a:pt x="27" y="250"/>
                  </a:lnTo>
                  <a:lnTo>
                    <a:pt x="34" y="246"/>
                  </a:lnTo>
                  <a:lnTo>
                    <a:pt x="35" y="234"/>
                  </a:lnTo>
                  <a:lnTo>
                    <a:pt x="40" y="226"/>
                  </a:lnTo>
                  <a:lnTo>
                    <a:pt x="50" y="217"/>
                  </a:lnTo>
                  <a:lnTo>
                    <a:pt x="58" y="215"/>
                  </a:lnTo>
                  <a:lnTo>
                    <a:pt x="59" y="208"/>
                  </a:lnTo>
                  <a:lnTo>
                    <a:pt x="65" y="204"/>
                  </a:lnTo>
                  <a:lnTo>
                    <a:pt x="58" y="197"/>
                  </a:lnTo>
                  <a:lnTo>
                    <a:pt x="60" y="188"/>
                  </a:lnTo>
                  <a:lnTo>
                    <a:pt x="71" y="190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78" y="176"/>
                  </a:lnTo>
                  <a:lnTo>
                    <a:pt x="80" y="173"/>
                  </a:lnTo>
                  <a:lnTo>
                    <a:pt x="78" y="170"/>
                  </a:lnTo>
                  <a:lnTo>
                    <a:pt x="78" y="170"/>
                  </a:lnTo>
                  <a:lnTo>
                    <a:pt x="76" y="169"/>
                  </a:lnTo>
                  <a:lnTo>
                    <a:pt x="74" y="168"/>
                  </a:lnTo>
                  <a:lnTo>
                    <a:pt x="72" y="168"/>
                  </a:lnTo>
                  <a:lnTo>
                    <a:pt x="70" y="169"/>
                  </a:lnTo>
                  <a:lnTo>
                    <a:pt x="60" y="175"/>
                  </a:lnTo>
                  <a:lnTo>
                    <a:pt x="48" y="179"/>
                  </a:lnTo>
                  <a:lnTo>
                    <a:pt x="41" y="176"/>
                  </a:lnTo>
                  <a:lnTo>
                    <a:pt x="36" y="168"/>
                  </a:lnTo>
                  <a:lnTo>
                    <a:pt x="43" y="161"/>
                  </a:lnTo>
                  <a:lnTo>
                    <a:pt x="50" y="151"/>
                  </a:lnTo>
                  <a:lnTo>
                    <a:pt x="40" y="150"/>
                  </a:lnTo>
                  <a:lnTo>
                    <a:pt x="33" y="157"/>
                  </a:lnTo>
                  <a:lnTo>
                    <a:pt x="29" y="165"/>
                  </a:lnTo>
                  <a:lnTo>
                    <a:pt x="22" y="162"/>
                  </a:lnTo>
                  <a:lnTo>
                    <a:pt x="17" y="155"/>
                  </a:lnTo>
                  <a:lnTo>
                    <a:pt x="15" y="146"/>
                  </a:lnTo>
                  <a:lnTo>
                    <a:pt x="8" y="150"/>
                  </a:lnTo>
                  <a:lnTo>
                    <a:pt x="0" y="139"/>
                  </a:lnTo>
                  <a:lnTo>
                    <a:pt x="12" y="135"/>
                  </a:lnTo>
                  <a:lnTo>
                    <a:pt x="22" y="138"/>
                  </a:lnTo>
                  <a:lnTo>
                    <a:pt x="29" y="127"/>
                  </a:lnTo>
                  <a:lnTo>
                    <a:pt x="33" y="132"/>
                  </a:lnTo>
                  <a:lnTo>
                    <a:pt x="39" y="125"/>
                  </a:lnTo>
                  <a:lnTo>
                    <a:pt x="51" y="125"/>
                  </a:lnTo>
                  <a:lnTo>
                    <a:pt x="60" y="128"/>
                  </a:lnTo>
                  <a:lnTo>
                    <a:pt x="72" y="135"/>
                  </a:lnTo>
                  <a:lnTo>
                    <a:pt x="78" y="140"/>
                  </a:lnTo>
                  <a:lnTo>
                    <a:pt x="94" y="137"/>
                  </a:lnTo>
                  <a:lnTo>
                    <a:pt x="106" y="146"/>
                  </a:lnTo>
                  <a:lnTo>
                    <a:pt x="115" y="152"/>
                  </a:lnTo>
                  <a:lnTo>
                    <a:pt x="129" y="157"/>
                  </a:lnTo>
                  <a:lnTo>
                    <a:pt x="136" y="149"/>
                  </a:lnTo>
                  <a:lnTo>
                    <a:pt x="153" y="149"/>
                  </a:lnTo>
                  <a:lnTo>
                    <a:pt x="158" y="138"/>
                  </a:lnTo>
                  <a:lnTo>
                    <a:pt x="167" y="135"/>
                  </a:lnTo>
                  <a:lnTo>
                    <a:pt x="175" y="132"/>
                  </a:lnTo>
                  <a:lnTo>
                    <a:pt x="173" y="122"/>
                  </a:lnTo>
                  <a:lnTo>
                    <a:pt x="161" y="118"/>
                  </a:lnTo>
                  <a:lnTo>
                    <a:pt x="158" y="110"/>
                  </a:lnTo>
                  <a:lnTo>
                    <a:pt x="153" y="101"/>
                  </a:lnTo>
                  <a:lnTo>
                    <a:pt x="151" y="88"/>
                  </a:lnTo>
                  <a:lnTo>
                    <a:pt x="161" y="88"/>
                  </a:lnTo>
                  <a:lnTo>
                    <a:pt x="163" y="78"/>
                  </a:lnTo>
                  <a:lnTo>
                    <a:pt x="175" y="55"/>
                  </a:lnTo>
                  <a:lnTo>
                    <a:pt x="183" y="41"/>
                  </a:lnTo>
                  <a:lnTo>
                    <a:pt x="187" y="35"/>
                  </a:lnTo>
                  <a:lnTo>
                    <a:pt x="198" y="31"/>
                  </a:lnTo>
                  <a:lnTo>
                    <a:pt x="208" y="19"/>
                  </a:lnTo>
                  <a:lnTo>
                    <a:pt x="217" y="8"/>
                  </a:lnTo>
                  <a:lnTo>
                    <a:pt x="214" y="1"/>
                  </a:lnTo>
                  <a:lnTo>
                    <a:pt x="223" y="0"/>
                  </a:lnTo>
                  <a:lnTo>
                    <a:pt x="232" y="5"/>
                  </a:lnTo>
                  <a:lnTo>
                    <a:pt x="239" y="13"/>
                  </a:lnTo>
                  <a:lnTo>
                    <a:pt x="242" y="18"/>
                  </a:lnTo>
                  <a:lnTo>
                    <a:pt x="254" y="18"/>
                  </a:lnTo>
                  <a:lnTo>
                    <a:pt x="250" y="31"/>
                  </a:lnTo>
                  <a:lnTo>
                    <a:pt x="258" y="37"/>
                  </a:lnTo>
                  <a:lnTo>
                    <a:pt x="265" y="39"/>
                  </a:lnTo>
                  <a:lnTo>
                    <a:pt x="273" y="41"/>
                  </a:lnTo>
                  <a:lnTo>
                    <a:pt x="277" y="53"/>
                  </a:lnTo>
                  <a:close/>
                </a:path>
              </a:pathLst>
            </a:custGeom>
            <a:solidFill>
              <a:srgbClr val="447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BC07FA32-4DD6-4C18-A120-3D2ABDA7EC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" y="1962"/>
              <a:ext cx="297" cy="301"/>
            </a:xfrm>
            <a:custGeom>
              <a:avLst/>
              <a:gdLst>
                <a:gd name="T0" fmla="*/ 265 w 297"/>
                <a:gd name="T1" fmla="*/ 60 h 301"/>
                <a:gd name="T2" fmla="*/ 273 w 297"/>
                <a:gd name="T3" fmla="*/ 86 h 301"/>
                <a:gd name="T4" fmla="*/ 280 w 297"/>
                <a:gd name="T5" fmla="*/ 116 h 301"/>
                <a:gd name="T6" fmla="*/ 293 w 297"/>
                <a:gd name="T7" fmla="*/ 138 h 301"/>
                <a:gd name="T8" fmla="*/ 287 w 297"/>
                <a:gd name="T9" fmla="*/ 157 h 301"/>
                <a:gd name="T10" fmla="*/ 263 w 297"/>
                <a:gd name="T11" fmla="*/ 181 h 301"/>
                <a:gd name="T12" fmla="*/ 255 w 297"/>
                <a:gd name="T13" fmla="*/ 216 h 301"/>
                <a:gd name="T14" fmla="*/ 247 w 297"/>
                <a:gd name="T15" fmla="*/ 252 h 301"/>
                <a:gd name="T16" fmla="*/ 232 w 297"/>
                <a:gd name="T17" fmla="*/ 271 h 301"/>
                <a:gd name="T18" fmla="*/ 203 w 297"/>
                <a:gd name="T19" fmla="*/ 259 h 301"/>
                <a:gd name="T20" fmla="*/ 173 w 297"/>
                <a:gd name="T21" fmla="*/ 260 h 301"/>
                <a:gd name="T22" fmla="*/ 170 w 297"/>
                <a:gd name="T23" fmla="*/ 285 h 301"/>
                <a:gd name="T24" fmla="*/ 135 w 297"/>
                <a:gd name="T25" fmla="*/ 293 h 301"/>
                <a:gd name="T26" fmla="*/ 119 w 297"/>
                <a:gd name="T27" fmla="*/ 301 h 301"/>
                <a:gd name="T28" fmla="*/ 88 w 297"/>
                <a:gd name="T29" fmla="*/ 295 h 301"/>
                <a:gd name="T30" fmla="*/ 56 w 297"/>
                <a:gd name="T31" fmla="*/ 293 h 301"/>
                <a:gd name="T32" fmla="*/ 38 w 297"/>
                <a:gd name="T33" fmla="*/ 283 h 301"/>
                <a:gd name="T34" fmla="*/ 16 w 297"/>
                <a:gd name="T35" fmla="*/ 271 h 301"/>
                <a:gd name="T36" fmla="*/ 14 w 297"/>
                <a:gd name="T37" fmla="*/ 259 h 301"/>
                <a:gd name="T38" fmla="*/ 34 w 297"/>
                <a:gd name="T39" fmla="*/ 246 h 301"/>
                <a:gd name="T40" fmla="*/ 50 w 297"/>
                <a:gd name="T41" fmla="*/ 217 h 301"/>
                <a:gd name="T42" fmla="*/ 65 w 297"/>
                <a:gd name="T43" fmla="*/ 204 h 301"/>
                <a:gd name="T44" fmla="*/ 71 w 297"/>
                <a:gd name="T45" fmla="*/ 190 h 301"/>
                <a:gd name="T46" fmla="*/ 76 w 297"/>
                <a:gd name="T47" fmla="*/ 179 h 301"/>
                <a:gd name="T48" fmla="*/ 78 w 297"/>
                <a:gd name="T49" fmla="*/ 170 h 301"/>
                <a:gd name="T50" fmla="*/ 74 w 297"/>
                <a:gd name="T51" fmla="*/ 168 h 301"/>
                <a:gd name="T52" fmla="*/ 60 w 297"/>
                <a:gd name="T53" fmla="*/ 175 h 301"/>
                <a:gd name="T54" fmla="*/ 36 w 297"/>
                <a:gd name="T55" fmla="*/ 168 h 301"/>
                <a:gd name="T56" fmla="*/ 40 w 297"/>
                <a:gd name="T57" fmla="*/ 150 h 301"/>
                <a:gd name="T58" fmla="*/ 22 w 297"/>
                <a:gd name="T59" fmla="*/ 162 h 301"/>
                <a:gd name="T60" fmla="*/ 8 w 297"/>
                <a:gd name="T61" fmla="*/ 150 h 301"/>
                <a:gd name="T62" fmla="*/ 22 w 297"/>
                <a:gd name="T63" fmla="*/ 138 h 301"/>
                <a:gd name="T64" fmla="*/ 39 w 297"/>
                <a:gd name="T65" fmla="*/ 125 h 301"/>
                <a:gd name="T66" fmla="*/ 72 w 297"/>
                <a:gd name="T67" fmla="*/ 135 h 301"/>
                <a:gd name="T68" fmla="*/ 106 w 297"/>
                <a:gd name="T69" fmla="*/ 146 h 301"/>
                <a:gd name="T70" fmla="*/ 136 w 297"/>
                <a:gd name="T71" fmla="*/ 149 h 301"/>
                <a:gd name="T72" fmla="*/ 167 w 297"/>
                <a:gd name="T73" fmla="*/ 135 h 301"/>
                <a:gd name="T74" fmla="*/ 161 w 297"/>
                <a:gd name="T75" fmla="*/ 118 h 301"/>
                <a:gd name="T76" fmla="*/ 151 w 297"/>
                <a:gd name="T77" fmla="*/ 88 h 301"/>
                <a:gd name="T78" fmla="*/ 175 w 297"/>
                <a:gd name="T79" fmla="*/ 55 h 301"/>
                <a:gd name="T80" fmla="*/ 198 w 297"/>
                <a:gd name="T81" fmla="*/ 31 h 301"/>
                <a:gd name="T82" fmla="*/ 214 w 297"/>
                <a:gd name="T83" fmla="*/ 1 h 301"/>
                <a:gd name="T84" fmla="*/ 239 w 297"/>
                <a:gd name="T85" fmla="*/ 13 h 301"/>
                <a:gd name="T86" fmla="*/ 250 w 297"/>
                <a:gd name="T87" fmla="*/ 31 h 301"/>
                <a:gd name="T88" fmla="*/ 273 w 297"/>
                <a:gd name="T89" fmla="*/ 4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301">
                  <a:moveTo>
                    <a:pt x="277" y="53"/>
                  </a:moveTo>
                  <a:lnTo>
                    <a:pt x="269" y="54"/>
                  </a:lnTo>
                  <a:lnTo>
                    <a:pt x="265" y="60"/>
                  </a:lnTo>
                  <a:lnTo>
                    <a:pt x="267" y="69"/>
                  </a:lnTo>
                  <a:lnTo>
                    <a:pt x="268" y="79"/>
                  </a:lnTo>
                  <a:lnTo>
                    <a:pt x="273" y="86"/>
                  </a:lnTo>
                  <a:lnTo>
                    <a:pt x="279" y="94"/>
                  </a:lnTo>
                  <a:lnTo>
                    <a:pt x="277" y="103"/>
                  </a:lnTo>
                  <a:lnTo>
                    <a:pt x="280" y="116"/>
                  </a:lnTo>
                  <a:lnTo>
                    <a:pt x="280" y="127"/>
                  </a:lnTo>
                  <a:lnTo>
                    <a:pt x="285" y="135"/>
                  </a:lnTo>
                  <a:lnTo>
                    <a:pt x="293" y="138"/>
                  </a:lnTo>
                  <a:lnTo>
                    <a:pt x="297" y="144"/>
                  </a:lnTo>
                  <a:lnTo>
                    <a:pt x="293" y="151"/>
                  </a:lnTo>
                  <a:lnTo>
                    <a:pt x="287" y="157"/>
                  </a:lnTo>
                  <a:lnTo>
                    <a:pt x="276" y="159"/>
                  </a:lnTo>
                  <a:lnTo>
                    <a:pt x="266" y="168"/>
                  </a:lnTo>
                  <a:lnTo>
                    <a:pt x="263" y="181"/>
                  </a:lnTo>
                  <a:lnTo>
                    <a:pt x="260" y="195"/>
                  </a:lnTo>
                  <a:lnTo>
                    <a:pt x="254" y="204"/>
                  </a:lnTo>
                  <a:lnTo>
                    <a:pt x="255" y="216"/>
                  </a:lnTo>
                  <a:lnTo>
                    <a:pt x="250" y="228"/>
                  </a:lnTo>
                  <a:lnTo>
                    <a:pt x="249" y="240"/>
                  </a:lnTo>
                  <a:lnTo>
                    <a:pt x="247" y="252"/>
                  </a:lnTo>
                  <a:lnTo>
                    <a:pt x="242" y="261"/>
                  </a:lnTo>
                  <a:lnTo>
                    <a:pt x="239" y="271"/>
                  </a:lnTo>
                  <a:lnTo>
                    <a:pt x="232" y="271"/>
                  </a:lnTo>
                  <a:lnTo>
                    <a:pt x="222" y="268"/>
                  </a:lnTo>
                  <a:lnTo>
                    <a:pt x="212" y="259"/>
                  </a:lnTo>
                  <a:lnTo>
                    <a:pt x="203" y="259"/>
                  </a:lnTo>
                  <a:lnTo>
                    <a:pt x="191" y="263"/>
                  </a:lnTo>
                  <a:lnTo>
                    <a:pt x="181" y="255"/>
                  </a:lnTo>
                  <a:lnTo>
                    <a:pt x="173" y="260"/>
                  </a:lnTo>
                  <a:lnTo>
                    <a:pt x="171" y="268"/>
                  </a:lnTo>
                  <a:lnTo>
                    <a:pt x="170" y="277"/>
                  </a:lnTo>
                  <a:lnTo>
                    <a:pt x="170" y="285"/>
                  </a:lnTo>
                  <a:lnTo>
                    <a:pt x="159" y="288"/>
                  </a:lnTo>
                  <a:lnTo>
                    <a:pt x="145" y="288"/>
                  </a:lnTo>
                  <a:lnTo>
                    <a:pt x="135" y="293"/>
                  </a:lnTo>
                  <a:lnTo>
                    <a:pt x="127" y="288"/>
                  </a:lnTo>
                  <a:lnTo>
                    <a:pt x="125" y="295"/>
                  </a:lnTo>
                  <a:lnTo>
                    <a:pt x="119" y="301"/>
                  </a:lnTo>
                  <a:lnTo>
                    <a:pt x="108" y="300"/>
                  </a:lnTo>
                  <a:lnTo>
                    <a:pt x="96" y="290"/>
                  </a:lnTo>
                  <a:lnTo>
                    <a:pt x="88" y="295"/>
                  </a:lnTo>
                  <a:lnTo>
                    <a:pt x="76" y="293"/>
                  </a:lnTo>
                  <a:lnTo>
                    <a:pt x="65" y="290"/>
                  </a:lnTo>
                  <a:lnTo>
                    <a:pt x="56" y="293"/>
                  </a:lnTo>
                  <a:lnTo>
                    <a:pt x="52" y="284"/>
                  </a:lnTo>
                  <a:lnTo>
                    <a:pt x="43" y="280"/>
                  </a:lnTo>
                  <a:lnTo>
                    <a:pt x="38" y="283"/>
                  </a:lnTo>
                  <a:lnTo>
                    <a:pt x="30" y="277"/>
                  </a:lnTo>
                  <a:lnTo>
                    <a:pt x="26" y="269"/>
                  </a:lnTo>
                  <a:lnTo>
                    <a:pt x="16" y="271"/>
                  </a:lnTo>
                  <a:lnTo>
                    <a:pt x="5" y="277"/>
                  </a:lnTo>
                  <a:lnTo>
                    <a:pt x="6" y="268"/>
                  </a:lnTo>
                  <a:lnTo>
                    <a:pt x="14" y="259"/>
                  </a:lnTo>
                  <a:lnTo>
                    <a:pt x="21" y="253"/>
                  </a:lnTo>
                  <a:lnTo>
                    <a:pt x="27" y="250"/>
                  </a:lnTo>
                  <a:lnTo>
                    <a:pt x="34" y="246"/>
                  </a:lnTo>
                  <a:lnTo>
                    <a:pt x="35" y="234"/>
                  </a:lnTo>
                  <a:lnTo>
                    <a:pt x="40" y="226"/>
                  </a:lnTo>
                  <a:lnTo>
                    <a:pt x="50" y="217"/>
                  </a:lnTo>
                  <a:lnTo>
                    <a:pt x="58" y="215"/>
                  </a:lnTo>
                  <a:lnTo>
                    <a:pt x="59" y="208"/>
                  </a:lnTo>
                  <a:lnTo>
                    <a:pt x="65" y="204"/>
                  </a:lnTo>
                  <a:lnTo>
                    <a:pt x="58" y="197"/>
                  </a:lnTo>
                  <a:lnTo>
                    <a:pt x="60" y="188"/>
                  </a:lnTo>
                  <a:lnTo>
                    <a:pt x="71" y="190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78" y="176"/>
                  </a:lnTo>
                  <a:lnTo>
                    <a:pt x="80" y="173"/>
                  </a:lnTo>
                  <a:lnTo>
                    <a:pt x="78" y="170"/>
                  </a:lnTo>
                  <a:lnTo>
                    <a:pt x="78" y="170"/>
                  </a:lnTo>
                  <a:lnTo>
                    <a:pt x="76" y="169"/>
                  </a:lnTo>
                  <a:lnTo>
                    <a:pt x="74" y="168"/>
                  </a:lnTo>
                  <a:lnTo>
                    <a:pt x="72" y="168"/>
                  </a:lnTo>
                  <a:lnTo>
                    <a:pt x="70" y="169"/>
                  </a:lnTo>
                  <a:lnTo>
                    <a:pt x="60" y="175"/>
                  </a:lnTo>
                  <a:lnTo>
                    <a:pt x="48" y="179"/>
                  </a:lnTo>
                  <a:lnTo>
                    <a:pt x="41" y="176"/>
                  </a:lnTo>
                  <a:lnTo>
                    <a:pt x="36" y="168"/>
                  </a:lnTo>
                  <a:lnTo>
                    <a:pt x="43" y="161"/>
                  </a:lnTo>
                  <a:lnTo>
                    <a:pt x="50" y="151"/>
                  </a:lnTo>
                  <a:lnTo>
                    <a:pt x="40" y="150"/>
                  </a:lnTo>
                  <a:lnTo>
                    <a:pt x="33" y="157"/>
                  </a:lnTo>
                  <a:lnTo>
                    <a:pt x="29" y="165"/>
                  </a:lnTo>
                  <a:lnTo>
                    <a:pt x="22" y="162"/>
                  </a:lnTo>
                  <a:lnTo>
                    <a:pt x="17" y="155"/>
                  </a:lnTo>
                  <a:lnTo>
                    <a:pt x="15" y="146"/>
                  </a:lnTo>
                  <a:lnTo>
                    <a:pt x="8" y="150"/>
                  </a:lnTo>
                  <a:lnTo>
                    <a:pt x="0" y="139"/>
                  </a:lnTo>
                  <a:lnTo>
                    <a:pt x="12" y="135"/>
                  </a:lnTo>
                  <a:lnTo>
                    <a:pt x="22" y="138"/>
                  </a:lnTo>
                  <a:lnTo>
                    <a:pt x="29" y="127"/>
                  </a:lnTo>
                  <a:lnTo>
                    <a:pt x="33" y="132"/>
                  </a:lnTo>
                  <a:lnTo>
                    <a:pt x="39" y="125"/>
                  </a:lnTo>
                  <a:lnTo>
                    <a:pt x="51" y="125"/>
                  </a:lnTo>
                  <a:lnTo>
                    <a:pt x="60" y="128"/>
                  </a:lnTo>
                  <a:lnTo>
                    <a:pt x="72" y="135"/>
                  </a:lnTo>
                  <a:lnTo>
                    <a:pt x="78" y="140"/>
                  </a:lnTo>
                  <a:lnTo>
                    <a:pt x="94" y="137"/>
                  </a:lnTo>
                  <a:lnTo>
                    <a:pt x="106" y="146"/>
                  </a:lnTo>
                  <a:lnTo>
                    <a:pt x="115" y="152"/>
                  </a:lnTo>
                  <a:lnTo>
                    <a:pt x="129" y="157"/>
                  </a:lnTo>
                  <a:lnTo>
                    <a:pt x="136" y="149"/>
                  </a:lnTo>
                  <a:lnTo>
                    <a:pt x="153" y="149"/>
                  </a:lnTo>
                  <a:lnTo>
                    <a:pt x="158" y="138"/>
                  </a:lnTo>
                  <a:lnTo>
                    <a:pt x="167" y="135"/>
                  </a:lnTo>
                  <a:lnTo>
                    <a:pt x="175" y="132"/>
                  </a:lnTo>
                  <a:lnTo>
                    <a:pt x="173" y="122"/>
                  </a:lnTo>
                  <a:lnTo>
                    <a:pt x="161" y="118"/>
                  </a:lnTo>
                  <a:lnTo>
                    <a:pt x="158" y="110"/>
                  </a:lnTo>
                  <a:lnTo>
                    <a:pt x="153" y="101"/>
                  </a:lnTo>
                  <a:lnTo>
                    <a:pt x="151" y="88"/>
                  </a:lnTo>
                  <a:lnTo>
                    <a:pt x="161" y="88"/>
                  </a:lnTo>
                  <a:lnTo>
                    <a:pt x="163" y="78"/>
                  </a:lnTo>
                  <a:lnTo>
                    <a:pt x="175" y="55"/>
                  </a:lnTo>
                  <a:lnTo>
                    <a:pt x="183" y="41"/>
                  </a:lnTo>
                  <a:lnTo>
                    <a:pt x="187" y="35"/>
                  </a:lnTo>
                  <a:lnTo>
                    <a:pt x="198" y="31"/>
                  </a:lnTo>
                  <a:lnTo>
                    <a:pt x="208" y="19"/>
                  </a:lnTo>
                  <a:lnTo>
                    <a:pt x="217" y="8"/>
                  </a:lnTo>
                  <a:lnTo>
                    <a:pt x="214" y="1"/>
                  </a:lnTo>
                  <a:lnTo>
                    <a:pt x="223" y="0"/>
                  </a:lnTo>
                  <a:lnTo>
                    <a:pt x="232" y="5"/>
                  </a:lnTo>
                  <a:lnTo>
                    <a:pt x="239" y="13"/>
                  </a:lnTo>
                  <a:lnTo>
                    <a:pt x="242" y="18"/>
                  </a:lnTo>
                  <a:lnTo>
                    <a:pt x="254" y="18"/>
                  </a:lnTo>
                  <a:lnTo>
                    <a:pt x="250" y="31"/>
                  </a:lnTo>
                  <a:lnTo>
                    <a:pt x="258" y="37"/>
                  </a:lnTo>
                  <a:lnTo>
                    <a:pt x="265" y="39"/>
                  </a:lnTo>
                  <a:lnTo>
                    <a:pt x="273" y="41"/>
                  </a:lnTo>
                  <a:lnTo>
                    <a:pt x="277" y="53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08D4EB50-0201-47DB-BC62-18B3D3868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" y="1635"/>
              <a:ext cx="429" cy="363"/>
            </a:xfrm>
            <a:custGeom>
              <a:avLst/>
              <a:gdLst>
                <a:gd name="T0" fmla="*/ 397 w 429"/>
                <a:gd name="T1" fmla="*/ 3 h 363"/>
                <a:gd name="T2" fmla="*/ 375 w 429"/>
                <a:gd name="T3" fmla="*/ 5 h 363"/>
                <a:gd name="T4" fmla="*/ 355 w 429"/>
                <a:gd name="T5" fmla="*/ 28 h 363"/>
                <a:gd name="T6" fmla="*/ 343 w 429"/>
                <a:gd name="T7" fmla="*/ 34 h 363"/>
                <a:gd name="T8" fmla="*/ 343 w 429"/>
                <a:gd name="T9" fmla="*/ 63 h 363"/>
                <a:gd name="T10" fmla="*/ 331 w 429"/>
                <a:gd name="T11" fmla="*/ 87 h 363"/>
                <a:gd name="T12" fmla="*/ 311 w 429"/>
                <a:gd name="T13" fmla="*/ 84 h 363"/>
                <a:gd name="T14" fmla="*/ 295 w 429"/>
                <a:gd name="T15" fmla="*/ 85 h 363"/>
                <a:gd name="T16" fmla="*/ 305 w 429"/>
                <a:gd name="T17" fmla="*/ 114 h 363"/>
                <a:gd name="T18" fmla="*/ 286 w 429"/>
                <a:gd name="T19" fmla="*/ 140 h 363"/>
                <a:gd name="T20" fmla="*/ 257 w 429"/>
                <a:gd name="T21" fmla="*/ 166 h 363"/>
                <a:gd name="T22" fmla="*/ 225 w 429"/>
                <a:gd name="T23" fmla="*/ 175 h 363"/>
                <a:gd name="T24" fmla="*/ 205 w 429"/>
                <a:gd name="T25" fmla="*/ 188 h 363"/>
                <a:gd name="T26" fmla="*/ 185 w 429"/>
                <a:gd name="T27" fmla="*/ 188 h 363"/>
                <a:gd name="T28" fmla="*/ 201 w 429"/>
                <a:gd name="T29" fmla="*/ 164 h 363"/>
                <a:gd name="T30" fmla="*/ 176 w 429"/>
                <a:gd name="T31" fmla="*/ 159 h 363"/>
                <a:gd name="T32" fmla="*/ 164 w 429"/>
                <a:gd name="T33" fmla="*/ 197 h 363"/>
                <a:gd name="T34" fmla="*/ 144 w 429"/>
                <a:gd name="T35" fmla="*/ 197 h 363"/>
                <a:gd name="T36" fmla="*/ 116 w 429"/>
                <a:gd name="T37" fmla="*/ 205 h 363"/>
                <a:gd name="T38" fmla="*/ 94 w 429"/>
                <a:gd name="T39" fmla="*/ 194 h 363"/>
                <a:gd name="T40" fmla="*/ 68 w 429"/>
                <a:gd name="T41" fmla="*/ 189 h 363"/>
                <a:gd name="T42" fmla="*/ 59 w 429"/>
                <a:gd name="T43" fmla="*/ 171 h 363"/>
                <a:gd name="T44" fmla="*/ 45 w 429"/>
                <a:gd name="T45" fmla="*/ 161 h 363"/>
                <a:gd name="T46" fmla="*/ 23 w 429"/>
                <a:gd name="T47" fmla="*/ 139 h 363"/>
                <a:gd name="T48" fmla="*/ 1 w 429"/>
                <a:gd name="T49" fmla="*/ 149 h 363"/>
                <a:gd name="T50" fmla="*/ 12 w 429"/>
                <a:gd name="T51" fmla="*/ 167 h 363"/>
                <a:gd name="T52" fmla="*/ 0 w 429"/>
                <a:gd name="T53" fmla="*/ 188 h 363"/>
                <a:gd name="T54" fmla="*/ 12 w 429"/>
                <a:gd name="T55" fmla="*/ 204 h 363"/>
                <a:gd name="T56" fmla="*/ 36 w 429"/>
                <a:gd name="T57" fmla="*/ 203 h 363"/>
                <a:gd name="T58" fmla="*/ 51 w 429"/>
                <a:gd name="T59" fmla="*/ 202 h 363"/>
                <a:gd name="T60" fmla="*/ 56 w 429"/>
                <a:gd name="T61" fmla="*/ 232 h 363"/>
                <a:gd name="T62" fmla="*/ 73 w 429"/>
                <a:gd name="T63" fmla="*/ 245 h 363"/>
                <a:gd name="T64" fmla="*/ 98 w 429"/>
                <a:gd name="T65" fmla="*/ 260 h 363"/>
                <a:gd name="T66" fmla="*/ 121 w 429"/>
                <a:gd name="T67" fmla="*/ 239 h 363"/>
                <a:gd name="T68" fmla="*/ 138 w 429"/>
                <a:gd name="T69" fmla="*/ 239 h 363"/>
                <a:gd name="T70" fmla="*/ 167 w 429"/>
                <a:gd name="T71" fmla="*/ 256 h 363"/>
                <a:gd name="T72" fmla="*/ 182 w 429"/>
                <a:gd name="T73" fmla="*/ 276 h 363"/>
                <a:gd name="T74" fmla="*/ 192 w 429"/>
                <a:gd name="T75" fmla="*/ 307 h 363"/>
                <a:gd name="T76" fmla="*/ 188 w 429"/>
                <a:gd name="T77" fmla="*/ 329 h 363"/>
                <a:gd name="T78" fmla="*/ 208 w 429"/>
                <a:gd name="T79" fmla="*/ 345 h 363"/>
                <a:gd name="T80" fmla="*/ 231 w 429"/>
                <a:gd name="T81" fmla="*/ 352 h 363"/>
                <a:gd name="T82" fmla="*/ 260 w 429"/>
                <a:gd name="T83" fmla="*/ 353 h 363"/>
                <a:gd name="T84" fmla="*/ 260 w 429"/>
                <a:gd name="T85" fmla="*/ 321 h 363"/>
                <a:gd name="T86" fmla="*/ 279 w 429"/>
                <a:gd name="T87" fmla="*/ 306 h 363"/>
                <a:gd name="T88" fmla="*/ 279 w 429"/>
                <a:gd name="T89" fmla="*/ 283 h 363"/>
                <a:gd name="T90" fmla="*/ 290 w 429"/>
                <a:gd name="T91" fmla="*/ 261 h 363"/>
                <a:gd name="T92" fmla="*/ 316 w 429"/>
                <a:gd name="T93" fmla="*/ 264 h 363"/>
                <a:gd name="T94" fmla="*/ 343 w 429"/>
                <a:gd name="T95" fmla="*/ 245 h 363"/>
                <a:gd name="T96" fmla="*/ 364 w 429"/>
                <a:gd name="T97" fmla="*/ 221 h 363"/>
                <a:gd name="T98" fmla="*/ 380 w 429"/>
                <a:gd name="T99" fmla="*/ 222 h 363"/>
                <a:gd name="T100" fmla="*/ 383 w 429"/>
                <a:gd name="T101" fmla="*/ 195 h 363"/>
                <a:gd name="T102" fmla="*/ 354 w 429"/>
                <a:gd name="T103" fmla="*/ 179 h 363"/>
                <a:gd name="T104" fmla="*/ 366 w 429"/>
                <a:gd name="T105" fmla="*/ 147 h 363"/>
                <a:gd name="T106" fmla="*/ 361 w 429"/>
                <a:gd name="T107" fmla="*/ 114 h 363"/>
                <a:gd name="T108" fmla="*/ 397 w 429"/>
                <a:gd name="T109" fmla="*/ 86 h 363"/>
                <a:gd name="T110" fmla="*/ 429 w 429"/>
                <a:gd name="T111" fmla="*/ 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9" h="363">
                  <a:moveTo>
                    <a:pt x="411" y="3"/>
                  </a:moveTo>
                  <a:lnTo>
                    <a:pt x="404" y="8"/>
                  </a:lnTo>
                  <a:lnTo>
                    <a:pt x="397" y="3"/>
                  </a:lnTo>
                  <a:lnTo>
                    <a:pt x="388" y="0"/>
                  </a:lnTo>
                  <a:lnTo>
                    <a:pt x="385" y="10"/>
                  </a:lnTo>
                  <a:lnTo>
                    <a:pt x="375" y="5"/>
                  </a:lnTo>
                  <a:lnTo>
                    <a:pt x="369" y="15"/>
                  </a:lnTo>
                  <a:lnTo>
                    <a:pt x="362" y="27"/>
                  </a:lnTo>
                  <a:lnTo>
                    <a:pt x="355" y="28"/>
                  </a:lnTo>
                  <a:lnTo>
                    <a:pt x="348" y="26"/>
                  </a:lnTo>
                  <a:lnTo>
                    <a:pt x="340" y="24"/>
                  </a:lnTo>
                  <a:lnTo>
                    <a:pt x="343" y="34"/>
                  </a:lnTo>
                  <a:lnTo>
                    <a:pt x="342" y="43"/>
                  </a:lnTo>
                  <a:lnTo>
                    <a:pt x="342" y="54"/>
                  </a:lnTo>
                  <a:lnTo>
                    <a:pt x="343" y="63"/>
                  </a:lnTo>
                  <a:lnTo>
                    <a:pt x="337" y="68"/>
                  </a:lnTo>
                  <a:lnTo>
                    <a:pt x="335" y="80"/>
                  </a:lnTo>
                  <a:lnTo>
                    <a:pt x="331" y="87"/>
                  </a:lnTo>
                  <a:lnTo>
                    <a:pt x="321" y="95"/>
                  </a:lnTo>
                  <a:lnTo>
                    <a:pt x="313" y="92"/>
                  </a:lnTo>
                  <a:lnTo>
                    <a:pt x="311" y="84"/>
                  </a:lnTo>
                  <a:lnTo>
                    <a:pt x="305" y="76"/>
                  </a:lnTo>
                  <a:lnTo>
                    <a:pt x="294" y="76"/>
                  </a:lnTo>
                  <a:lnTo>
                    <a:pt x="295" y="85"/>
                  </a:lnTo>
                  <a:lnTo>
                    <a:pt x="302" y="91"/>
                  </a:lnTo>
                  <a:lnTo>
                    <a:pt x="303" y="102"/>
                  </a:lnTo>
                  <a:lnTo>
                    <a:pt x="305" y="114"/>
                  </a:lnTo>
                  <a:lnTo>
                    <a:pt x="302" y="122"/>
                  </a:lnTo>
                  <a:lnTo>
                    <a:pt x="294" y="128"/>
                  </a:lnTo>
                  <a:lnTo>
                    <a:pt x="286" y="140"/>
                  </a:lnTo>
                  <a:lnTo>
                    <a:pt x="273" y="152"/>
                  </a:lnTo>
                  <a:lnTo>
                    <a:pt x="264" y="160"/>
                  </a:lnTo>
                  <a:lnTo>
                    <a:pt x="257" y="166"/>
                  </a:lnTo>
                  <a:lnTo>
                    <a:pt x="246" y="165"/>
                  </a:lnTo>
                  <a:lnTo>
                    <a:pt x="227" y="164"/>
                  </a:lnTo>
                  <a:lnTo>
                    <a:pt x="225" y="175"/>
                  </a:lnTo>
                  <a:lnTo>
                    <a:pt x="218" y="180"/>
                  </a:lnTo>
                  <a:lnTo>
                    <a:pt x="210" y="182"/>
                  </a:lnTo>
                  <a:lnTo>
                    <a:pt x="205" y="188"/>
                  </a:lnTo>
                  <a:lnTo>
                    <a:pt x="204" y="196"/>
                  </a:lnTo>
                  <a:lnTo>
                    <a:pt x="190" y="194"/>
                  </a:lnTo>
                  <a:lnTo>
                    <a:pt x="185" y="188"/>
                  </a:lnTo>
                  <a:lnTo>
                    <a:pt x="194" y="182"/>
                  </a:lnTo>
                  <a:lnTo>
                    <a:pt x="204" y="173"/>
                  </a:lnTo>
                  <a:lnTo>
                    <a:pt x="201" y="164"/>
                  </a:lnTo>
                  <a:lnTo>
                    <a:pt x="197" y="159"/>
                  </a:lnTo>
                  <a:lnTo>
                    <a:pt x="187" y="157"/>
                  </a:lnTo>
                  <a:lnTo>
                    <a:pt x="176" y="159"/>
                  </a:lnTo>
                  <a:lnTo>
                    <a:pt x="168" y="166"/>
                  </a:lnTo>
                  <a:lnTo>
                    <a:pt x="164" y="183"/>
                  </a:lnTo>
                  <a:lnTo>
                    <a:pt x="164" y="197"/>
                  </a:lnTo>
                  <a:lnTo>
                    <a:pt x="161" y="207"/>
                  </a:lnTo>
                  <a:lnTo>
                    <a:pt x="153" y="197"/>
                  </a:lnTo>
                  <a:lnTo>
                    <a:pt x="144" y="197"/>
                  </a:lnTo>
                  <a:lnTo>
                    <a:pt x="137" y="202"/>
                  </a:lnTo>
                  <a:lnTo>
                    <a:pt x="126" y="207"/>
                  </a:lnTo>
                  <a:lnTo>
                    <a:pt x="116" y="205"/>
                  </a:lnTo>
                  <a:lnTo>
                    <a:pt x="108" y="203"/>
                  </a:lnTo>
                  <a:lnTo>
                    <a:pt x="103" y="195"/>
                  </a:lnTo>
                  <a:lnTo>
                    <a:pt x="94" y="194"/>
                  </a:lnTo>
                  <a:lnTo>
                    <a:pt x="85" y="188"/>
                  </a:lnTo>
                  <a:lnTo>
                    <a:pt x="73" y="182"/>
                  </a:lnTo>
                  <a:lnTo>
                    <a:pt x="68" y="189"/>
                  </a:lnTo>
                  <a:lnTo>
                    <a:pt x="61" y="185"/>
                  </a:lnTo>
                  <a:lnTo>
                    <a:pt x="64" y="176"/>
                  </a:lnTo>
                  <a:lnTo>
                    <a:pt x="59" y="171"/>
                  </a:lnTo>
                  <a:lnTo>
                    <a:pt x="60" y="159"/>
                  </a:lnTo>
                  <a:lnTo>
                    <a:pt x="54" y="153"/>
                  </a:lnTo>
                  <a:lnTo>
                    <a:pt x="45" y="161"/>
                  </a:lnTo>
                  <a:lnTo>
                    <a:pt x="35" y="160"/>
                  </a:lnTo>
                  <a:lnTo>
                    <a:pt x="25" y="149"/>
                  </a:lnTo>
                  <a:lnTo>
                    <a:pt x="23" y="139"/>
                  </a:lnTo>
                  <a:lnTo>
                    <a:pt x="12" y="132"/>
                  </a:lnTo>
                  <a:lnTo>
                    <a:pt x="4" y="142"/>
                  </a:lnTo>
                  <a:lnTo>
                    <a:pt x="1" y="149"/>
                  </a:lnTo>
                  <a:lnTo>
                    <a:pt x="6" y="158"/>
                  </a:lnTo>
                  <a:lnTo>
                    <a:pt x="12" y="159"/>
                  </a:lnTo>
                  <a:lnTo>
                    <a:pt x="12" y="167"/>
                  </a:lnTo>
                  <a:lnTo>
                    <a:pt x="8" y="173"/>
                  </a:lnTo>
                  <a:lnTo>
                    <a:pt x="4" y="180"/>
                  </a:lnTo>
                  <a:lnTo>
                    <a:pt x="0" y="188"/>
                  </a:lnTo>
                  <a:lnTo>
                    <a:pt x="1" y="197"/>
                  </a:lnTo>
                  <a:lnTo>
                    <a:pt x="4" y="207"/>
                  </a:lnTo>
                  <a:lnTo>
                    <a:pt x="12" y="204"/>
                  </a:lnTo>
                  <a:lnTo>
                    <a:pt x="20" y="201"/>
                  </a:lnTo>
                  <a:lnTo>
                    <a:pt x="27" y="205"/>
                  </a:lnTo>
                  <a:lnTo>
                    <a:pt x="36" y="203"/>
                  </a:lnTo>
                  <a:lnTo>
                    <a:pt x="42" y="197"/>
                  </a:lnTo>
                  <a:lnTo>
                    <a:pt x="47" y="195"/>
                  </a:lnTo>
                  <a:lnTo>
                    <a:pt x="51" y="202"/>
                  </a:lnTo>
                  <a:lnTo>
                    <a:pt x="56" y="215"/>
                  </a:lnTo>
                  <a:lnTo>
                    <a:pt x="50" y="222"/>
                  </a:lnTo>
                  <a:lnTo>
                    <a:pt x="56" y="232"/>
                  </a:lnTo>
                  <a:lnTo>
                    <a:pt x="62" y="239"/>
                  </a:lnTo>
                  <a:lnTo>
                    <a:pt x="65" y="245"/>
                  </a:lnTo>
                  <a:lnTo>
                    <a:pt x="73" y="245"/>
                  </a:lnTo>
                  <a:lnTo>
                    <a:pt x="86" y="248"/>
                  </a:lnTo>
                  <a:lnTo>
                    <a:pt x="89" y="256"/>
                  </a:lnTo>
                  <a:lnTo>
                    <a:pt x="98" y="260"/>
                  </a:lnTo>
                  <a:lnTo>
                    <a:pt x="109" y="256"/>
                  </a:lnTo>
                  <a:lnTo>
                    <a:pt x="119" y="247"/>
                  </a:lnTo>
                  <a:lnTo>
                    <a:pt x="121" y="239"/>
                  </a:lnTo>
                  <a:lnTo>
                    <a:pt x="128" y="236"/>
                  </a:lnTo>
                  <a:lnTo>
                    <a:pt x="133" y="231"/>
                  </a:lnTo>
                  <a:lnTo>
                    <a:pt x="138" y="239"/>
                  </a:lnTo>
                  <a:lnTo>
                    <a:pt x="146" y="245"/>
                  </a:lnTo>
                  <a:lnTo>
                    <a:pt x="163" y="247"/>
                  </a:lnTo>
                  <a:lnTo>
                    <a:pt x="167" y="256"/>
                  </a:lnTo>
                  <a:lnTo>
                    <a:pt x="167" y="265"/>
                  </a:lnTo>
                  <a:lnTo>
                    <a:pt x="173" y="271"/>
                  </a:lnTo>
                  <a:lnTo>
                    <a:pt x="182" y="276"/>
                  </a:lnTo>
                  <a:lnTo>
                    <a:pt x="184" y="286"/>
                  </a:lnTo>
                  <a:lnTo>
                    <a:pt x="190" y="299"/>
                  </a:lnTo>
                  <a:lnTo>
                    <a:pt x="192" y="307"/>
                  </a:lnTo>
                  <a:lnTo>
                    <a:pt x="187" y="314"/>
                  </a:lnTo>
                  <a:lnTo>
                    <a:pt x="181" y="325"/>
                  </a:lnTo>
                  <a:lnTo>
                    <a:pt x="188" y="329"/>
                  </a:lnTo>
                  <a:lnTo>
                    <a:pt x="201" y="328"/>
                  </a:lnTo>
                  <a:lnTo>
                    <a:pt x="208" y="335"/>
                  </a:lnTo>
                  <a:lnTo>
                    <a:pt x="208" y="345"/>
                  </a:lnTo>
                  <a:lnTo>
                    <a:pt x="217" y="346"/>
                  </a:lnTo>
                  <a:lnTo>
                    <a:pt x="221" y="353"/>
                  </a:lnTo>
                  <a:lnTo>
                    <a:pt x="231" y="352"/>
                  </a:lnTo>
                  <a:lnTo>
                    <a:pt x="238" y="362"/>
                  </a:lnTo>
                  <a:lnTo>
                    <a:pt x="253" y="363"/>
                  </a:lnTo>
                  <a:lnTo>
                    <a:pt x="260" y="353"/>
                  </a:lnTo>
                  <a:lnTo>
                    <a:pt x="257" y="344"/>
                  </a:lnTo>
                  <a:lnTo>
                    <a:pt x="263" y="333"/>
                  </a:lnTo>
                  <a:lnTo>
                    <a:pt x="260" y="321"/>
                  </a:lnTo>
                  <a:lnTo>
                    <a:pt x="263" y="315"/>
                  </a:lnTo>
                  <a:lnTo>
                    <a:pt x="271" y="313"/>
                  </a:lnTo>
                  <a:lnTo>
                    <a:pt x="279" y="306"/>
                  </a:lnTo>
                  <a:lnTo>
                    <a:pt x="284" y="296"/>
                  </a:lnTo>
                  <a:lnTo>
                    <a:pt x="277" y="291"/>
                  </a:lnTo>
                  <a:lnTo>
                    <a:pt x="279" y="283"/>
                  </a:lnTo>
                  <a:lnTo>
                    <a:pt x="277" y="273"/>
                  </a:lnTo>
                  <a:lnTo>
                    <a:pt x="283" y="269"/>
                  </a:lnTo>
                  <a:lnTo>
                    <a:pt x="290" y="261"/>
                  </a:lnTo>
                  <a:lnTo>
                    <a:pt x="296" y="257"/>
                  </a:lnTo>
                  <a:lnTo>
                    <a:pt x="306" y="260"/>
                  </a:lnTo>
                  <a:lnTo>
                    <a:pt x="316" y="264"/>
                  </a:lnTo>
                  <a:lnTo>
                    <a:pt x="326" y="260"/>
                  </a:lnTo>
                  <a:lnTo>
                    <a:pt x="337" y="254"/>
                  </a:lnTo>
                  <a:lnTo>
                    <a:pt x="343" y="245"/>
                  </a:lnTo>
                  <a:lnTo>
                    <a:pt x="350" y="238"/>
                  </a:lnTo>
                  <a:lnTo>
                    <a:pt x="354" y="232"/>
                  </a:lnTo>
                  <a:lnTo>
                    <a:pt x="364" y="221"/>
                  </a:lnTo>
                  <a:lnTo>
                    <a:pt x="369" y="229"/>
                  </a:lnTo>
                  <a:lnTo>
                    <a:pt x="380" y="232"/>
                  </a:lnTo>
                  <a:lnTo>
                    <a:pt x="380" y="222"/>
                  </a:lnTo>
                  <a:lnTo>
                    <a:pt x="379" y="212"/>
                  </a:lnTo>
                  <a:lnTo>
                    <a:pt x="388" y="205"/>
                  </a:lnTo>
                  <a:lnTo>
                    <a:pt x="383" y="195"/>
                  </a:lnTo>
                  <a:lnTo>
                    <a:pt x="378" y="190"/>
                  </a:lnTo>
                  <a:lnTo>
                    <a:pt x="366" y="185"/>
                  </a:lnTo>
                  <a:lnTo>
                    <a:pt x="354" y="179"/>
                  </a:lnTo>
                  <a:lnTo>
                    <a:pt x="360" y="172"/>
                  </a:lnTo>
                  <a:lnTo>
                    <a:pt x="366" y="158"/>
                  </a:lnTo>
                  <a:lnTo>
                    <a:pt x="366" y="147"/>
                  </a:lnTo>
                  <a:lnTo>
                    <a:pt x="361" y="138"/>
                  </a:lnTo>
                  <a:lnTo>
                    <a:pt x="359" y="126"/>
                  </a:lnTo>
                  <a:lnTo>
                    <a:pt x="361" y="114"/>
                  </a:lnTo>
                  <a:lnTo>
                    <a:pt x="371" y="104"/>
                  </a:lnTo>
                  <a:lnTo>
                    <a:pt x="385" y="95"/>
                  </a:lnTo>
                  <a:lnTo>
                    <a:pt x="397" y="86"/>
                  </a:lnTo>
                  <a:lnTo>
                    <a:pt x="403" y="76"/>
                  </a:lnTo>
                  <a:lnTo>
                    <a:pt x="402" y="64"/>
                  </a:lnTo>
                  <a:lnTo>
                    <a:pt x="429" y="2"/>
                  </a:lnTo>
                  <a:lnTo>
                    <a:pt x="421" y="3"/>
                  </a:lnTo>
                  <a:lnTo>
                    <a:pt x="411" y="3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CF2442D0-308B-4E2C-88F0-FF0A05441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" y="1635"/>
              <a:ext cx="429" cy="363"/>
            </a:xfrm>
            <a:custGeom>
              <a:avLst/>
              <a:gdLst>
                <a:gd name="T0" fmla="*/ 397 w 429"/>
                <a:gd name="T1" fmla="*/ 3 h 363"/>
                <a:gd name="T2" fmla="*/ 375 w 429"/>
                <a:gd name="T3" fmla="*/ 5 h 363"/>
                <a:gd name="T4" fmla="*/ 355 w 429"/>
                <a:gd name="T5" fmla="*/ 28 h 363"/>
                <a:gd name="T6" fmla="*/ 343 w 429"/>
                <a:gd name="T7" fmla="*/ 34 h 363"/>
                <a:gd name="T8" fmla="*/ 343 w 429"/>
                <a:gd name="T9" fmla="*/ 63 h 363"/>
                <a:gd name="T10" fmla="*/ 331 w 429"/>
                <a:gd name="T11" fmla="*/ 87 h 363"/>
                <a:gd name="T12" fmla="*/ 311 w 429"/>
                <a:gd name="T13" fmla="*/ 84 h 363"/>
                <a:gd name="T14" fmla="*/ 295 w 429"/>
                <a:gd name="T15" fmla="*/ 85 h 363"/>
                <a:gd name="T16" fmla="*/ 305 w 429"/>
                <a:gd name="T17" fmla="*/ 114 h 363"/>
                <a:gd name="T18" fmla="*/ 286 w 429"/>
                <a:gd name="T19" fmla="*/ 140 h 363"/>
                <a:gd name="T20" fmla="*/ 257 w 429"/>
                <a:gd name="T21" fmla="*/ 166 h 363"/>
                <a:gd name="T22" fmla="*/ 225 w 429"/>
                <a:gd name="T23" fmla="*/ 175 h 363"/>
                <a:gd name="T24" fmla="*/ 205 w 429"/>
                <a:gd name="T25" fmla="*/ 188 h 363"/>
                <a:gd name="T26" fmla="*/ 185 w 429"/>
                <a:gd name="T27" fmla="*/ 188 h 363"/>
                <a:gd name="T28" fmla="*/ 201 w 429"/>
                <a:gd name="T29" fmla="*/ 164 h 363"/>
                <a:gd name="T30" fmla="*/ 176 w 429"/>
                <a:gd name="T31" fmla="*/ 159 h 363"/>
                <a:gd name="T32" fmla="*/ 164 w 429"/>
                <a:gd name="T33" fmla="*/ 197 h 363"/>
                <a:gd name="T34" fmla="*/ 144 w 429"/>
                <a:gd name="T35" fmla="*/ 197 h 363"/>
                <a:gd name="T36" fmla="*/ 116 w 429"/>
                <a:gd name="T37" fmla="*/ 205 h 363"/>
                <a:gd name="T38" fmla="*/ 94 w 429"/>
                <a:gd name="T39" fmla="*/ 194 h 363"/>
                <a:gd name="T40" fmla="*/ 68 w 429"/>
                <a:gd name="T41" fmla="*/ 189 h 363"/>
                <a:gd name="T42" fmla="*/ 59 w 429"/>
                <a:gd name="T43" fmla="*/ 171 h 363"/>
                <a:gd name="T44" fmla="*/ 45 w 429"/>
                <a:gd name="T45" fmla="*/ 161 h 363"/>
                <a:gd name="T46" fmla="*/ 23 w 429"/>
                <a:gd name="T47" fmla="*/ 139 h 363"/>
                <a:gd name="T48" fmla="*/ 1 w 429"/>
                <a:gd name="T49" fmla="*/ 149 h 363"/>
                <a:gd name="T50" fmla="*/ 12 w 429"/>
                <a:gd name="T51" fmla="*/ 167 h 363"/>
                <a:gd name="T52" fmla="*/ 0 w 429"/>
                <a:gd name="T53" fmla="*/ 188 h 363"/>
                <a:gd name="T54" fmla="*/ 12 w 429"/>
                <a:gd name="T55" fmla="*/ 204 h 363"/>
                <a:gd name="T56" fmla="*/ 36 w 429"/>
                <a:gd name="T57" fmla="*/ 203 h 363"/>
                <a:gd name="T58" fmla="*/ 51 w 429"/>
                <a:gd name="T59" fmla="*/ 202 h 363"/>
                <a:gd name="T60" fmla="*/ 56 w 429"/>
                <a:gd name="T61" fmla="*/ 232 h 363"/>
                <a:gd name="T62" fmla="*/ 73 w 429"/>
                <a:gd name="T63" fmla="*/ 245 h 363"/>
                <a:gd name="T64" fmla="*/ 98 w 429"/>
                <a:gd name="T65" fmla="*/ 260 h 363"/>
                <a:gd name="T66" fmla="*/ 121 w 429"/>
                <a:gd name="T67" fmla="*/ 239 h 363"/>
                <a:gd name="T68" fmla="*/ 138 w 429"/>
                <a:gd name="T69" fmla="*/ 239 h 363"/>
                <a:gd name="T70" fmla="*/ 167 w 429"/>
                <a:gd name="T71" fmla="*/ 256 h 363"/>
                <a:gd name="T72" fmla="*/ 182 w 429"/>
                <a:gd name="T73" fmla="*/ 276 h 363"/>
                <a:gd name="T74" fmla="*/ 192 w 429"/>
                <a:gd name="T75" fmla="*/ 307 h 363"/>
                <a:gd name="T76" fmla="*/ 188 w 429"/>
                <a:gd name="T77" fmla="*/ 329 h 363"/>
                <a:gd name="T78" fmla="*/ 208 w 429"/>
                <a:gd name="T79" fmla="*/ 345 h 363"/>
                <a:gd name="T80" fmla="*/ 231 w 429"/>
                <a:gd name="T81" fmla="*/ 352 h 363"/>
                <a:gd name="T82" fmla="*/ 260 w 429"/>
                <a:gd name="T83" fmla="*/ 353 h 363"/>
                <a:gd name="T84" fmla="*/ 260 w 429"/>
                <a:gd name="T85" fmla="*/ 321 h 363"/>
                <a:gd name="T86" fmla="*/ 279 w 429"/>
                <a:gd name="T87" fmla="*/ 306 h 363"/>
                <a:gd name="T88" fmla="*/ 279 w 429"/>
                <a:gd name="T89" fmla="*/ 283 h 363"/>
                <a:gd name="T90" fmla="*/ 290 w 429"/>
                <a:gd name="T91" fmla="*/ 261 h 363"/>
                <a:gd name="T92" fmla="*/ 316 w 429"/>
                <a:gd name="T93" fmla="*/ 264 h 363"/>
                <a:gd name="T94" fmla="*/ 343 w 429"/>
                <a:gd name="T95" fmla="*/ 245 h 363"/>
                <a:gd name="T96" fmla="*/ 364 w 429"/>
                <a:gd name="T97" fmla="*/ 221 h 363"/>
                <a:gd name="T98" fmla="*/ 380 w 429"/>
                <a:gd name="T99" fmla="*/ 222 h 363"/>
                <a:gd name="T100" fmla="*/ 383 w 429"/>
                <a:gd name="T101" fmla="*/ 195 h 363"/>
                <a:gd name="T102" fmla="*/ 354 w 429"/>
                <a:gd name="T103" fmla="*/ 179 h 363"/>
                <a:gd name="T104" fmla="*/ 366 w 429"/>
                <a:gd name="T105" fmla="*/ 147 h 363"/>
                <a:gd name="T106" fmla="*/ 361 w 429"/>
                <a:gd name="T107" fmla="*/ 114 h 363"/>
                <a:gd name="T108" fmla="*/ 397 w 429"/>
                <a:gd name="T109" fmla="*/ 86 h 363"/>
                <a:gd name="T110" fmla="*/ 429 w 429"/>
                <a:gd name="T111" fmla="*/ 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9" h="363">
                  <a:moveTo>
                    <a:pt x="411" y="3"/>
                  </a:moveTo>
                  <a:lnTo>
                    <a:pt x="404" y="8"/>
                  </a:lnTo>
                  <a:lnTo>
                    <a:pt x="397" y="3"/>
                  </a:lnTo>
                  <a:lnTo>
                    <a:pt x="388" y="0"/>
                  </a:lnTo>
                  <a:lnTo>
                    <a:pt x="385" y="10"/>
                  </a:lnTo>
                  <a:lnTo>
                    <a:pt x="375" y="5"/>
                  </a:lnTo>
                  <a:lnTo>
                    <a:pt x="369" y="15"/>
                  </a:lnTo>
                  <a:lnTo>
                    <a:pt x="362" y="27"/>
                  </a:lnTo>
                  <a:lnTo>
                    <a:pt x="355" y="28"/>
                  </a:lnTo>
                  <a:lnTo>
                    <a:pt x="348" y="26"/>
                  </a:lnTo>
                  <a:lnTo>
                    <a:pt x="340" y="24"/>
                  </a:lnTo>
                  <a:lnTo>
                    <a:pt x="343" y="34"/>
                  </a:lnTo>
                  <a:lnTo>
                    <a:pt x="342" y="43"/>
                  </a:lnTo>
                  <a:lnTo>
                    <a:pt x="342" y="54"/>
                  </a:lnTo>
                  <a:lnTo>
                    <a:pt x="343" y="63"/>
                  </a:lnTo>
                  <a:lnTo>
                    <a:pt x="337" y="68"/>
                  </a:lnTo>
                  <a:lnTo>
                    <a:pt x="335" y="80"/>
                  </a:lnTo>
                  <a:lnTo>
                    <a:pt x="331" y="87"/>
                  </a:lnTo>
                  <a:lnTo>
                    <a:pt x="321" y="95"/>
                  </a:lnTo>
                  <a:lnTo>
                    <a:pt x="313" y="92"/>
                  </a:lnTo>
                  <a:lnTo>
                    <a:pt x="311" y="84"/>
                  </a:lnTo>
                  <a:lnTo>
                    <a:pt x="305" y="76"/>
                  </a:lnTo>
                  <a:lnTo>
                    <a:pt x="294" y="76"/>
                  </a:lnTo>
                  <a:lnTo>
                    <a:pt x="295" y="85"/>
                  </a:lnTo>
                  <a:lnTo>
                    <a:pt x="302" y="91"/>
                  </a:lnTo>
                  <a:lnTo>
                    <a:pt x="303" y="102"/>
                  </a:lnTo>
                  <a:lnTo>
                    <a:pt x="305" y="114"/>
                  </a:lnTo>
                  <a:lnTo>
                    <a:pt x="302" y="122"/>
                  </a:lnTo>
                  <a:lnTo>
                    <a:pt x="294" y="128"/>
                  </a:lnTo>
                  <a:lnTo>
                    <a:pt x="286" y="140"/>
                  </a:lnTo>
                  <a:lnTo>
                    <a:pt x="273" y="152"/>
                  </a:lnTo>
                  <a:lnTo>
                    <a:pt x="264" y="160"/>
                  </a:lnTo>
                  <a:lnTo>
                    <a:pt x="257" y="166"/>
                  </a:lnTo>
                  <a:lnTo>
                    <a:pt x="246" y="165"/>
                  </a:lnTo>
                  <a:lnTo>
                    <a:pt x="227" y="164"/>
                  </a:lnTo>
                  <a:lnTo>
                    <a:pt x="225" y="175"/>
                  </a:lnTo>
                  <a:lnTo>
                    <a:pt x="218" y="180"/>
                  </a:lnTo>
                  <a:lnTo>
                    <a:pt x="210" y="182"/>
                  </a:lnTo>
                  <a:lnTo>
                    <a:pt x="205" y="188"/>
                  </a:lnTo>
                  <a:lnTo>
                    <a:pt x="204" y="196"/>
                  </a:lnTo>
                  <a:lnTo>
                    <a:pt x="190" y="194"/>
                  </a:lnTo>
                  <a:lnTo>
                    <a:pt x="185" y="188"/>
                  </a:lnTo>
                  <a:lnTo>
                    <a:pt x="194" y="182"/>
                  </a:lnTo>
                  <a:lnTo>
                    <a:pt x="204" y="173"/>
                  </a:lnTo>
                  <a:lnTo>
                    <a:pt x="201" y="164"/>
                  </a:lnTo>
                  <a:lnTo>
                    <a:pt x="197" y="159"/>
                  </a:lnTo>
                  <a:lnTo>
                    <a:pt x="187" y="157"/>
                  </a:lnTo>
                  <a:lnTo>
                    <a:pt x="176" y="159"/>
                  </a:lnTo>
                  <a:lnTo>
                    <a:pt x="168" y="166"/>
                  </a:lnTo>
                  <a:lnTo>
                    <a:pt x="164" y="183"/>
                  </a:lnTo>
                  <a:lnTo>
                    <a:pt x="164" y="197"/>
                  </a:lnTo>
                  <a:lnTo>
                    <a:pt x="161" y="207"/>
                  </a:lnTo>
                  <a:lnTo>
                    <a:pt x="153" y="197"/>
                  </a:lnTo>
                  <a:lnTo>
                    <a:pt x="144" y="197"/>
                  </a:lnTo>
                  <a:lnTo>
                    <a:pt x="137" y="202"/>
                  </a:lnTo>
                  <a:lnTo>
                    <a:pt x="126" y="207"/>
                  </a:lnTo>
                  <a:lnTo>
                    <a:pt x="116" y="205"/>
                  </a:lnTo>
                  <a:lnTo>
                    <a:pt x="108" y="203"/>
                  </a:lnTo>
                  <a:lnTo>
                    <a:pt x="103" y="195"/>
                  </a:lnTo>
                  <a:lnTo>
                    <a:pt x="94" y="194"/>
                  </a:lnTo>
                  <a:lnTo>
                    <a:pt x="85" y="188"/>
                  </a:lnTo>
                  <a:lnTo>
                    <a:pt x="73" y="182"/>
                  </a:lnTo>
                  <a:lnTo>
                    <a:pt x="68" y="189"/>
                  </a:lnTo>
                  <a:lnTo>
                    <a:pt x="61" y="185"/>
                  </a:lnTo>
                  <a:lnTo>
                    <a:pt x="64" y="176"/>
                  </a:lnTo>
                  <a:lnTo>
                    <a:pt x="59" y="171"/>
                  </a:lnTo>
                  <a:lnTo>
                    <a:pt x="60" y="159"/>
                  </a:lnTo>
                  <a:lnTo>
                    <a:pt x="54" y="153"/>
                  </a:lnTo>
                  <a:lnTo>
                    <a:pt x="45" y="161"/>
                  </a:lnTo>
                  <a:lnTo>
                    <a:pt x="35" y="160"/>
                  </a:lnTo>
                  <a:lnTo>
                    <a:pt x="25" y="149"/>
                  </a:lnTo>
                  <a:lnTo>
                    <a:pt x="23" y="139"/>
                  </a:lnTo>
                  <a:lnTo>
                    <a:pt x="12" y="132"/>
                  </a:lnTo>
                  <a:lnTo>
                    <a:pt x="4" y="142"/>
                  </a:lnTo>
                  <a:lnTo>
                    <a:pt x="1" y="149"/>
                  </a:lnTo>
                  <a:lnTo>
                    <a:pt x="6" y="158"/>
                  </a:lnTo>
                  <a:lnTo>
                    <a:pt x="12" y="159"/>
                  </a:lnTo>
                  <a:lnTo>
                    <a:pt x="12" y="167"/>
                  </a:lnTo>
                  <a:lnTo>
                    <a:pt x="8" y="173"/>
                  </a:lnTo>
                  <a:lnTo>
                    <a:pt x="4" y="180"/>
                  </a:lnTo>
                  <a:lnTo>
                    <a:pt x="0" y="188"/>
                  </a:lnTo>
                  <a:lnTo>
                    <a:pt x="1" y="197"/>
                  </a:lnTo>
                  <a:lnTo>
                    <a:pt x="4" y="207"/>
                  </a:lnTo>
                  <a:lnTo>
                    <a:pt x="12" y="204"/>
                  </a:lnTo>
                  <a:lnTo>
                    <a:pt x="20" y="201"/>
                  </a:lnTo>
                  <a:lnTo>
                    <a:pt x="27" y="205"/>
                  </a:lnTo>
                  <a:lnTo>
                    <a:pt x="36" y="203"/>
                  </a:lnTo>
                  <a:lnTo>
                    <a:pt x="42" y="197"/>
                  </a:lnTo>
                  <a:lnTo>
                    <a:pt x="47" y="195"/>
                  </a:lnTo>
                  <a:lnTo>
                    <a:pt x="51" y="202"/>
                  </a:lnTo>
                  <a:lnTo>
                    <a:pt x="56" y="215"/>
                  </a:lnTo>
                  <a:lnTo>
                    <a:pt x="50" y="222"/>
                  </a:lnTo>
                  <a:lnTo>
                    <a:pt x="56" y="232"/>
                  </a:lnTo>
                  <a:lnTo>
                    <a:pt x="62" y="239"/>
                  </a:lnTo>
                  <a:lnTo>
                    <a:pt x="65" y="245"/>
                  </a:lnTo>
                  <a:lnTo>
                    <a:pt x="73" y="245"/>
                  </a:lnTo>
                  <a:lnTo>
                    <a:pt x="86" y="248"/>
                  </a:lnTo>
                  <a:lnTo>
                    <a:pt x="89" y="256"/>
                  </a:lnTo>
                  <a:lnTo>
                    <a:pt x="98" y="260"/>
                  </a:lnTo>
                  <a:lnTo>
                    <a:pt x="109" y="256"/>
                  </a:lnTo>
                  <a:lnTo>
                    <a:pt x="119" y="247"/>
                  </a:lnTo>
                  <a:lnTo>
                    <a:pt x="121" y="239"/>
                  </a:lnTo>
                  <a:lnTo>
                    <a:pt x="128" y="236"/>
                  </a:lnTo>
                  <a:lnTo>
                    <a:pt x="133" y="231"/>
                  </a:lnTo>
                  <a:lnTo>
                    <a:pt x="138" y="239"/>
                  </a:lnTo>
                  <a:lnTo>
                    <a:pt x="146" y="245"/>
                  </a:lnTo>
                  <a:lnTo>
                    <a:pt x="163" y="247"/>
                  </a:lnTo>
                  <a:lnTo>
                    <a:pt x="167" y="256"/>
                  </a:lnTo>
                  <a:lnTo>
                    <a:pt x="167" y="265"/>
                  </a:lnTo>
                  <a:lnTo>
                    <a:pt x="173" y="271"/>
                  </a:lnTo>
                  <a:lnTo>
                    <a:pt x="182" y="276"/>
                  </a:lnTo>
                  <a:lnTo>
                    <a:pt x="184" y="286"/>
                  </a:lnTo>
                  <a:lnTo>
                    <a:pt x="190" y="299"/>
                  </a:lnTo>
                  <a:lnTo>
                    <a:pt x="192" y="307"/>
                  </a:lnTo>
                  <a:lnTo>
                    <a:pt x="187" y="314"/>
                  </a:lnTo>
                  <a:lnTo>
                    <a:pt x="181" y="325"/>
                  </a:lnTo>
                  <a:lnTo>
                    <a:pt x="188" y="329"/>
                  </a:lnTo>
                  <a:lnTo>
                    <a:pt x="201" y="328"/>
                  </a:lnTo>
                  <a:lnTo>
                    <a:pt x="208" y="335"/>
                  </a:lnTo>
                  <a:lnTo>
                    <a:pt x="208" y="345"/>
                  </a:lnTo>
                  <a:lnTo>
                    <a:pt x="217" y="346"/>
                  </a:lnTo>
                  <a:lnTo>
                    <a:pt x="221" y="353"/>
                  </a:lnTo>
                  <a:lnTo>
                    <a:pt x="231" y="352"/>
                  </a:lnTo>
                  <a:lnTo>
                    <a:pt x="238" y="362"/>
                  </a:lnTo>
                  <a:lnTo>
                    <a:pt x="253" y="363"/>
                  </a:lnTo>
                  <a:lnTo>
                    <a:pt x="260" y="353"/>
                  </a:lnTo>
                  <a:lnTo>
                    <a:pt x="257" y="344"/>
                  </a:lnTo>
                  <a:lnTo>
                    <a:pt x="263" y="333"/>
                  </a:lnTo>
                  <a:lnTo>
                    <a:pt x="260" y="321"/>
                  </a:lnTo>
                  <a:lnTo>
                    <a:pt x="263" y="315"/>
                  </a:lnTo>
                  <a:lnTo>
                    <a:pt x="271" y="313"/>
                  </a:lnTo>
                  <a:lnTo>
                    <a:pt x="279" y="306"/>
                  </a:lnTo>
                  <a:lnTo>
                    <a:pt x="284" y="296"/>
                  </a:lnTo>
                  <a:lnTo>
                    <a:pt x="277" y="291"/>
                  </a:lnTo>
                  <a:lnTo>
                    <a:pt x="279" y="283"/>
                  </a:lnTo>
                  <a:lnTo>
                    <a:pt x="277" y="273"/>
                  </a:lnTo>
                  <a:lnTo>
                    <a:pt x="283" y="269"/>
                  </a:lnTo>
                  <a:lnTo>
                    <a:pt x="290" y="261"/>
                  </a:lnTo>
                  <a:lnTo>
                    <a:pt x="296" y="257"/>
                  </a:lnTo>
                  <a:lnTo>
                    <a:pt x="306" y="260"/>
                  </a:lnTo>
                  <a:lnTo>
                    <a:pt x="316" y="264"/>
                  </a:lnTo>
                  <a:lnTo>
                    <a:pt x="326" y="260"/>
                  </a:lnTo>
                  <a:lnTo>
                    <a:pt x="337" y="254"/>
                  </a:lnTo>
                  <a:lnTo>
                    <a:pt x="343" y="245"/>
                  </a:lnTo>
                  <a:lnTo>
                    <a:pt x="350" y="238"/>
                  </a:lnTo>
                  <a:lnTo>
                    <a:pt x="354" y="232"/>
                  </a:lnTo>
                  <a:lnTo>
                    <a:pt x="364" y="221"/>
                  </a:lnTo>
                  <a:lnTo>
                    <a:pt x="369" y="229"/>
                  </a:lnTo>
                  <a:lnTo>
                    <a:pt x="380" y="232"/>
                  </a:lnTo>
                  <a:lnTo>
                    <a:pt x="380" y="222"/>
                  </a:lnTo>
                  <a:lnTo>
                    <a:pt x="379" y="212"/>
                  </a:lnTo>
                  <a:lnTo>
                    <a:pt x="388" y="205"/>
                  </a:lnTo>
                  <a:lnTo>
                    <a:pt x="383" y="195"/>
                  </a:lnTo>
                  <a:lnTo>
                    <a:pt x="378" y="190"/>
                  </a:lnTo>
                  <a:lnTo>
                    <a:pt x="366" y="185"/>
                  </a:lnTo>
                  <a:lnTo>
                    <a:pt x="354" y="179"/>
                  </a:lnTo>
                  <a:lnTo>
                    <a:pt x="360" y="172"/>
                  </a:lnTo>
                  <a:lnTo>
                    <a:pt x="366" y="158"/>
                  </a:lnTo>
                  <a:lnTo>
                    <a:pt x="366" y="147"/>
                  </a:lnTo>
                  <a:lnTo>
                    <a:pt x="361" y="138"/>
                  </a:lnTo>
                  <a:lnTo>
                    <a:pt x="359" y="126"/>
                  </a:lnTo>
                  <a:lnTo>
                    <a:pt x="361" y="114"/>
                  </a:lnTo>
                  <a:lnTo>
                    <a:pt x="371" y="104"/>
                  </a:lnTo>
                  <a:lnTo>
                    <a:pt x="385" y="95"/>
                  </a:lnTo>
                  <a:lnTo>
                    <a:pt x="397" y="86"/>
                  </a:lnTo>
                  <a:lnTo>
                    <a:pt x="403" y="76"/>
                  </a:lnTo>
                  <a:lnTo>
                    <a:pt x="402" y="64"/>
                  </a:lnTo>
                  <a:lnTo>
                    <a:pt x="429" y="2"/>
                  </a:lnTo>
                  <a:lnTo>
                    <a:pt x="421" y="3"/>
                  </a:lnTo>
                  <a:lnTo>
                    <a:pt x="411" y="3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81A3E403-8EAC-4921-B992-C09386B0A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" y="1906"/>
              <a:ext cx="250" cy="357"/>
            </a:xfrm>
            <a:custGeom>
              <a:avLst/>
              <a:gdLst>
                <a:gd name="T0" fmla="*/ 250 w 250"/>
                <a:gd name="T1" fmla="*/ 208 h 357"/>
                <a:gd name="T2" fmla="*/ 243 w 250"/>
                <a:gd name="T3" fmla="*/ 189 h 357"/>
                <a:gd name="T4" fmla="*/ 250 w 250"/>
                <a:gd name="T5" fmla="*/ 171 h 357"/>
                <a:gd name="T6" fmla="*/ 238 w 250"/>
                <a:gd name="T7" fmla="*/ 157 h 357"/>
                <a:gd name="T8" fmla="*/ 223 w 250"/>
                <a:gd name="T9" fmla="*/ 165 h 357"/>
                <a:gd name="T10" fmla="*/ 207 w 250"/>
                <a:gd name="T11" fmla="*/ 157 h 357"/>
                <a:gd name="T12" fmla="*/ 190 w 250"/>
                <a:gd name="T13" fmla="*/ 140 h 357"/>
                <a:gd name="T14" fmla="*/ 196 w 250"/>
                <a:gd name="T15" fmla="*/ 118 h 357"/>
                <a:gd name="T16" fmla="*/ 195 w 250"/>
                <a:gd name="T17" fmla="*/ 102 h 357"/>
                <a:gd name="T18" fmla="*/ 198 w 250"/>
                <a:gd name="T19" fmla="*/ 81 h 357"/>
                <a:gd name="T20" fmla="*/ 199 w 250"/>
                <a:gd name="T21" fmla="*/ 62 h 357"/>
                <a:gd name="T22" fmla="*/ 207 w 250"/>
                <a:gd name="T23" fmla="*/ 48 h 357"/>
                <a:gd name="T24" fmla="*/ 210 w 250"/>
                <a:gd name="T25" fmla="*/ 32 h 357"/>
                <a:gd name="T26" fmla="*/ 205 w 250"/>
                <a:gd name="T27" fmla="*/ 17 h 357"/>
                <a:gd name="T28" fmla="*/ 201 w 250"/>
                <a:gd name="T29" fmla="*/ 0 h 357"/>
                <a:gd name="T30" fmla="*/ 181 w 250"/>
                <a:gd name="T31" fmla="*/ 2 h 357"/>
                <a:gd name="T32" fmla="*/ 157 w 250"/>
                <a:gd name="T33" fmla="*/ 5 h 357"/>
                <a:gd name="T34" fmla="*/ 142 w 250"/>
                <a:gd name="T35" fmla="*/ 20 h 357"/>
                <a:gd name="T36" fmla="*/ 126 w 250"/>
                <a:gd name="T37" fmla="*/ 28 h 357"/>
                <a:gd name="T38" fmla="*/ 108 w 250"/>
                <a:gd name="T39" fmla="*/ 34 h 357"/>
                <a:gd name="T40" fmla="*/ 110 w 250"/>
                <a:gd name="T41" fmla="*/ 55 h 357"/>
                <a:gd name="T42" fmla="*/ 111 w 250"/>
                <a:gd name="T43" fmla="*/ 69 h 357"/>
                <a:gd name="T44" fmla="*/ 103 w 250"/>
                <a:gd name="T45" fmla="*/ 86 h 357"/>
                <a:gd name="T46" fmla="*/ 106 w 250"/>
                <a:gd name="T47" fmla="*/ 98 h 357"/>
                <a:gd name="T48" fmla="*/ 92 w 250"/>
                <a:gd name="T49" fmla="*/ 110 h 357"/>
                <a:gd name="T50" fmla="*/ 74 w 250"/>
                <a:gd name="T51" fmla="*/ 128 h 357"/>
                <a:gd name="T52" fmla="*/ 73 w 250"/>
                <a:gd name="T53" fmla="*/ 146 h 357"/>
                <a:gd name="T54" fmla="*/ 59 w 250"/>
                <a:gd name="T55" fmla="*/ 173 h 357"/>
                <a:gd name="T56" fmla="*/ 54 w 250"/>
                <a:gd name="T57" fmla="*/ 191 h 357"/>
                <a:gd name="T58" fmla="*/ 54 w 250"/>
                <a:gd name="T59" fmla="*/ 204 h 357"/>
                <a:gd name="T60" fmla="*/ 36 w 250"/>
                <a:gd name="T61" fmla="*/ 212 h 357"/>
                <a:gd name="T62" fmla="*/ 24 w 250"/>
                <a:gd name="T63" fmla="*/ 234 h 357"/>
                <a:gd name="T64" fmla="*/ 14 w 250"/>
                <a:gd name="T65" fmla="*/ 257 h 357"/>
                <a:gd name="T66" fmla="*/ 11 w 250"/>
                <a:gd name="T67" fmla="*/ 280 h 357"/>
                <a:gd name="T68" fmla="*/ 7 w 250"/>
                <a:gd name="T69" fmla="*/ 304 h 357"/>
                <a:gd name="T70" fmla="*/ 0 w 250"/>
                <a:gd name="T71" fmla="*/ 324 h 357"/>
                <a:gd name="T72" fmla="*/ 2 w 250"/>
                <a:gd name="T73" fmla="*/ 345 h 357"/>
                <a:gd name="T74" fmla="*/ 21 w 250"/>
                <a:gd name="T75" fmla="*/ 357 h 357"/>
                <a:gd name="T76" fmla="*/ 38 w 250"/>
                <a:gd name="T77" fmla="*/ 349 h 357"/>
                <a:gd name="T78" fmla="*/ 53 w 250"/>
                <a:gd name="T79" fmla="*/ 346 h 357"/>
                <a:gd name="T80" fmla="*/ 68 w 250"/>
                <a:gd name="T81" fmla="*/ 333 h 357"/>
                <a:gd name="T82" fmla="*/ 83 w 250"/>
                <a:gd name="T83" fmla="*/ 325 h 357"/>
                <a:gd name="T84" fmla="*/ 89 w 250"/>
                <a:gd name="T85" fmla="*/ 309 h 357"/>
                <a:gd name="T86" fmla="*/ 108 w 250"/>
                <a:gd name="T87" fmla="*/ 295 h 357"/>
                <a:gd name="T88" fmla="*/ 128 w 250"/>
                <a:gd name="T89" fmla="*/ 291 h 357"/>
                <a:gd name="T90" fmla="*/ 141 w 250"/>
                <a:gd name="T91" fmla="*/ 290 h 357"/>
                <a:gd name="T92" fmla="*/ 164 w 250"/>
                <a:gd name="T93" fmla="*/ 284 h 357"/>
                <a:gd name="T94" fmla="*/ 164 w 250"/>
                <a:gd name="T95" fmla="*/ 296 h 357"/>
                <a:gd name="T96" fmla="*/ 169 w 250"/>
                <a:gd name="T97" fmla="*/ 308 h 357"/>
                <a:gd name="T98" fmla="*/ 194 w 250"/>
                <a:gd name="T99" fmla="*/ 303 h 357"/>
                <a:gd name="T100" fmla="*/ 205 w 250"/>
                <a:gd name="T101" fmla="*/ 286 h 357"/>
                <a:gd name="T102" fmla="*/ 211 w 250"/>
                <a:gd name="T103" fmla="*/ 270 h 357"/>
                <a:gd name="T104" fmla="*/ 217 w 250"/>
                <a:gd name="T105" fmla="*/ 254 h 357"/>
                <a:gd name="T106" fmla="*/ 232 w 250"/>
                <a:gd name="T107" fmla="*/ 241 h 357"/>
                <a:gd name="T108" fmla="*/ 243 w 250"/>
                <a:gd name="T109" fmla="*/ 224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0" h="357">
                  <a:moveTo>
                    <a:pt x="243" y="224"/>
                  </a:moveTo>
                  <a:lnTo>
                    <a:pt x="250" y="208"/>
                  </a:lnTo>
                  <a:lnTo>
                    <a:pt x="246" y="200"/>
                  </a:lnTo>
                  <a:lnTo>
                    <a:pt x="243" y="189"/>
                  </a:lnTo>
                  <a:lnTo>
                    <a:pt x="250" y="182"/>
                  </a:lnTo>
                  <a:lnTo>
                    <a:pt x="250" y="171"/>
                  </a:lnTo>
                  <a:lnTo>
                    <a:pt x="246" y="164"/>
                  </a:lnTo>
                  <a:lnTo>
                    <a:pt x="238" y="157"/>
                  </a:lnTo>
                  <a:lnTo>
                    <a:pt x="231" y="161"/>
                  </a:lnTo>
                  <a:lnTo>
                    <a:pt x="223" y="165"/>
                  </a:lnTo>
                  <a:lnTo>
                    <a:pt x="213" y="164"/>
                  </a:lnTo>
                  <a:lnTo>
                    <a:pt x="207" y="157"/>
                  </a:lnTo>
                  <a:lnTo>
                    <a:pt x="198" y="154"/>
                  </a:lnTo>
                  <a:lnTo>
                    <a:pt x="190" y="140"/>
                  </a:lnTo>
                  <a:lnTo>
                    <a:pt x="194" y="131"/>
                  </a:lnTo>
                  <a:lnTo>
                    <a:pt x="196" y="118"/>
                  </a:lnTo>
                  <a:lnTo>
                    <a:pt x="195" y="113"/>
                  </a:lnTo>
                  <a:lnTo>
                    <a:pt x="195" y="102"/>
                  </a:lnTo>
                  <a:lnTo>
                    <a:pt x="195" y="91"/>
                  </a:lnTo>
                  <a:lnTo>
                    <a:pt x="198" y="81"/>
                  </a:lnTo>
                  <a:lnTo>
                    <a:pt x="201" y="71"/>
                  </a:lnTo>
                  <a:lnTo>
                    <a:pt x="199" y="62"/>
                  </a:lnTo>
                  <a:lnTo>
                    <a:pt x="201" y="54"/>
                  </a:lnTo>
                  <a:lnTo>
                    <a:pt x="207" y="48"/>
                  </a:lnTo>
                  <a:lnTo>
                    <a:pt x="205" y="38"/>
                  </a:lnTo>
                  <a:lnTo>
                    <a:pt x="210" y="32"/>
                  </a:lnTo>
                  <a:lnTo>
                    <a:pt x="206" y="25"/>
                  </a:lnTo>
                  <a:lnTo>
                    <a:pt x="205" y="17"/>
                  </a:lnTo>
                  <a:lnTo>
                    <a:pt x="205" y="6"/>
                  </a:lnTo>
                  <a:lnTo>
                    <a:pt x="201" y="0"/>
                  </a:lnTo>
                  <a:lnTo>
                    <a:pt x="196" y="2"/>
                  </a:lnTo>
                  <a:lnTo>
                    <a:pt x="181" y="2"/>
                  </a:lnTo>
                  <a:lnTo>
                    <a:pt x="167" y="1"/>
                  </a:lnTo>
                  <a:lnTo>
                    <a:pt x="157" y="5"/>
                  </a:lnTo>
                  <a:lnTo>
                    <a:pt x="151" y="11"/>
                  </a:lnTo>
                  <a:lnTo>
                    <a:pt x="142" y="20"/>
                  </a:lnTo>
                  <a:lnTo>
                    <a:pt x="132" y="23"/>
                  </a:lnTo>
                  <a:lnTo>
                    <a:pt x="126" y="28"/>
                  </a:lnTo>
                  <a:lnTo>
                    <a:pt x="114" y="28"/>
                  </a:lnTo>
                  <a:lnTo>
                    <a:pt x="108" y="34"/>
                  </a:lnTo>
                  <a:lnTo>
                    <a:pt x="113" y="46"/>
                  </a:lnTo>
                  <a:lnTo>
                    <a:pt x="110" y="55"/>
                  </a:lnTo>
                  <a:lnTo>
                    <a:pt x="110" y="62"/>
                  </a:lnTo>
                  <a:lnTo>
                    <a:pt x="111" y="69"/>
                  </a:lnTo>
                  <a:lnTo>
                    <a:pt x="103" y="75"/>
                  </a:lnTo>
                  <a:lnTo>
                    <a:pt x="103" y="86"/>
                  </a:lnTo>
                  <a:lnTo>
                    <a:pt x="99" y="92"/>
                  </a:lnTo>
                  <a:lnTo>
                    <a:pt x="106" y="98"/>
                  </a:lnTo>
                  <a:lnTo>
                    <a:pt x="102" y="105"/>
                  </a:lnTo>
                  <a:lnTo>
                    <a:pt x="92" y="110"/>
                  </a:lnTo>
                  <a:lnTo>
                    <a:pt x="83" y="120"/>
                  </a:lnTo>
                  <a:lnTo>
                    <a:pt x="74" y="128"/>
                  </a:lnTo>
                  <a:lnTo>
                    <a:pt x="72" y="138"/>
                  </a:lnTo>
                  <a:lnTo>
                    <a:pt x="73" y="146"/>
                  </a:lnTo>
                  <a:lnTo>
                    <a:pt x="66" y="159"/>
                  </a:lnTo>
                  <a:lnTo>
                    <a:pt x="59" y="173"/>
                  </a:lnTo>
                  <a:lnTo>
                    <a:pt x="55" y="181"/>
                  </a:lnTo>
                  <a:lnTo>
                    <a:pt x="54" y="191"/>
                  </a:lnTo>
                  <a:lnTo>
                    <a:pt x="58" y="197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36" y="212"/>
                  </a:lnTo>
                  <a:lnTo>
                    <a:pt x="26" y="221"/>
                  </a:lnTo>
                  <a:lnTo>
                    <a:pt x="24" y="234"/>
                  </a:lnTo>
                  <a:lnTo>
                    <a:pt x="20" y="248"/>
                  </a:lnTo>
                  <a:lnTo>
                    <a:pt x="14" y="257"/>
                  </a:lnTo>
                  <a:lnTo>
                    <a:pt x="15" y="268"/>
                  </a:lnTo>
                  <a:lnTo>
                    <a:pt x="11" y="280"/>
                  </a:lnTo>
                  <a:lnTo>
                    <a:pt x="10" y="292"/>
                  </a:lnTo>
                  <a:lnTo>
                    <a:pt x="7" y="304"/>
                  </a:lnTo>
                  <a:lnTo>
                    <a:pt x="2" y="314"/>
                  </a:lnTo>
                  <a:lnTo>
                    <a:pt x="0" y="324"/>
                  </a:lnTo>
                  <a:lnTo>
                    <a:pt x="1" y="337"/>
                  </a:lnTo>
                  <a:lnTo>
                    <a:pt x="2" y="345"/>
                  </a:lnTo>
                  <a:lnTo>
                    <a:pt x="8" y="353"/>
                  </a:lnTo>
                  <a:lnTo>
                    <a:pt x="21" y="357"/>
                  </a:lnTo>
                  <a:lnTo>
                    <a:pt x="33" y="356"/>
                  </a:lnTo>
                  <a:lnTo>
                    <a:pt x="38" y="349"/>
                  </a:lnTo>
                  <a:lnTo>
                    <a:pt x="44" y="344"/>
                  </a:lnTo>
                  <a:lnTo>
                    <a:pt x="53" y="346"/>
                  </a:lnTo>
                  <a:lnTo>
                    <a:pt x="59" y="337"/>
                  </a:lnTo>
                  <a:lnTo>
                    <a:pt x="68" y="333"/>
                  </a:lnTo>
                  <a:lnTo>
                    <a:pt x="80" y="331"/>
                  </a:lnTo>
                  <a:lnTo>
                    <a:pt x="83" y="325"/>
                  </a:lnTo>
                  <a:lnTo>
                    <a:pt x="80" y="316"/>
                  </a:lnTo>
                  <a:lnTo>
                    <a:pt x="89" y="309"/>
                  </a:lnTo>
                  <a:lnTo>
                    <a:pt x="98" y="303"/>
                  </a:lnTo>
                  <a:lnTo>
                    <a:pt x="108" y="295"/>
                  </a:lnTo>
                  <a:lnTo>
                    <a:pt x="115" y="290"/>
                  </a:lnTo>
                  <a:lnTo>
                    <a:pt x="128" y="291"/>
                  </a:lnTo>
                  <a:lnTo>
                    <a:pt x="134" y="297"/>
                  </a:lnTo>
                  <a:lnTo>
                    <a:pt x="141" y="290"/>
                  </a:lnTo>
                  <a:lnTo>
                    <a:pt x="153" y="285"/>
                  </a:lnTo>
                  <a:lnTo>
                    <a:pt x="164" y="284"/>
                  </a:lnTo>
                  <a:lnTo>
                    <a:pt x="171" y="291"/>
                  </a:lnTo>
                  <a:lnTo>
                    <a:pt x="164" y="296"/>
                  </a:lnTo>
                  <a:lnTo>
                    <a:pt x="161" y="303"/>
                  </a:lnTo>
                  <a:lnTo>
                    <a:pt x="169" y="308"/>
                  </a:lnTo>
                  <a:lnTo>
                    <a:pt x="185" y="308"/>
                  </a:lnTo>
                  <a:lnTo>
                    <a:pt x="194" y="303"/>
                  </a:lnTo>
                  <a:lnTo>
                    <a:pt x="199" y="296"/>
                  </a:lnTo>
                  <a:lnTo>
                    <a:pt x="205" y="286"/>
                  </a:lnTo>
                  <a:lnTo>
                    <a:pt x="211" y="278"/>
                  </a:lnTo>
                  <a:lnTo>
                    <a:pt x="211" y="270"/>
                  </a:lnTo>
                  <a:lnTo>
                    <a:pt x="214" y="264"/>
                  </a:lnTo>
                  <a:lnTo>
                    <a:pt x="217" y="254"/>
                  </a:lnTo>
                  <a:lnTo>
                    <a:pt x="224" y="248"/>
                  </a:lnTo>
                  <a:lnTo>
                    <a:pt x="232" y="241"/>
                  </a:lnTo>
                  <a:lnTo>
                    <a:pt x="242" y="232"/>
                  </a:lnTo>
                  <a:lnTo>
                    <a:pt x="243" y="224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57" name="Freeform 53">
              <a:extLst>
                <a:ext uri="{FF2B5EF4-FFF2-40B4-BE49-F238E27FC236}">
                  <a16:creationId xmlns:a16="http://schemas.microsoft.com/office/drawing/2014/main" id="{07BD4A3F-5F86-4A10-A925-4287773B9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" y="1906"/>
              <a:ext cx="250" cy="357"/>
            </a:xfrm>
            <a:custGeom>
              <a:avLst/>
              <a:gdLst>
                <a:gd name="T0" fmla="*/ 250 w 250"/>
                <a:gd name="T1" fmla="*/ 208 h 357"/>
                <a:gd name="T2" fmla="*/ 243 w 250"/>
                <a:gd name="T3" fmla="*/ 189 h 357"/>
                <a:gd name="T4" fmla="*/ 250 w 250"/>
                <a:gd name="T5" fmla="*/ 171 h 357"/>
                <a:gd name="T6" fmla="*/ 238 w 250"/>
                <a:gd name="T7" fmla="*/ 157 h 357"/>
                <a:gd name="T8" fmla="*/ 223 w 250"/>
                <a:gd name="T9" fmla="*/ 165 h 357"/>
                <a:gd name="T10" fmla="*/ 207 w 250"/>
                <a:gd name="T11" fmla="*/ 157 h 357"/>
                <a:gd name="T12" fmla="*/ 190 w 250"/>
                <a:gd name="T13" fmla="*/ 140 h 357"/>
                <a:gd name="T14" fmla="*/ 196 w 250"/>
                <a:gd name="T15" fmla="*/ 118 h 357"/>
                <a:gd name="T16" fmla="*/ 195 w 250"/>
                <a:gd name="T17" fmla="*/ 102 h 357"/>
                <a:gd name="T18" fmla="*/ 198 w 250"/>
                <a:gd name="T19" fmla="*/ 81 h 357"/>
                <a:gd name="T20" fmla="*/ 199 w 250"/>
                <a:gd name="T21" fmla="*/ 62 h 357"/>
                <a:gd name="T22" fmla="*/ 207 w 250"/>
                <a:gd name="T23" fmla="*/ 48 h 357"/>
                <a:gd name="T24" fmla="*/ 210 w 250"/>
                <a:gd name="T25" fmla="*/ 32 h 357"/>
                <a:gd name="T26" fmla="*/ 205 w 250"/>
                <a:gd name="T27" fmla="*/ 17 h 357"/>
                <a:gd name="T28" fmla="*/ 201 w 250"/>
                <a:gd name="T29" fmla="*/ 0 h 357"/>
                <a:gd name="T30" fmla="*/ 181 w 250"/>
                <a:gd name="T31" fmla="*/ 2 h 357"/>
                <a:gd name="T32" fmla="*/ 157 w 250"/>
                <a:gd name="T33" fmla="*/ 5 h 357"/>
                <a:gd name="T34" fmla="*/ 142 w 250"/>
                <a:gd name="T35" fmla="*/ 20 h 357"/>
                <a:gd name="T36" fmla="*/ 126 w 250"/>
                <a:gd name="T37" fmla="*/ 28 h 357"/>
                <a:gd name="T38" fmla="*/ 108 w 250"/>
                <a:gd name="T39" fmla="*/ 34 h 357"/>
                <a:gd name="T40" fmla="*/ 110 w 250"/>
                <a:gd name="T41" fmla="*/ 55 h 357"/>
                <a:gd name="T42" fmla="*/ 111 w 250"/>
                <a:gd name="T43" fmla="*/ 69 h 357"/>
                <a:gd name="T44" fmla="*/ 103 w 250"/>
                <a:gd name="T45" fmla="*/ 86 h 357"/>
                <a:gd name="T46" fmla="*/ 106 w 250"/>
                <a:gd name="T47" fmla="*/ 98 h 357"/>
                <a:gd name="T48" fmla="*/ 92 w 250"/>
                <a:gd name="T49" fmla="*/ 110 h 357"/>
                <a:gd name="T50" fmla="*/ 74 w 250"/>
                <a:gd name="T51" fmla="*/ 128 h 357"/>
                <a:gd name="T52" fmla="*/ 73 w 250"/>
                <a:gd name="T53" fmla="*/ 146 h 357"/>
                <a:gd name="T54" fmla="*/ 59 w 250"/>
                <a:gd name="T55" fmla="*/ 173 h 357"/>
                <a:gd name="T56" fmla="*/ 54 w 250"/>
                <a:gd name="T57" fmla="*/ 191 h 357"/>
                <a:gd name="T58" fmla="*/ 54 w 250"/>
                <a:gd name="T59" fmla="*/ 204 h 357"/>
                <a:gd name="T60" fmla="*/ 36 w 250"/>
                <a:gd name="T61" fmla="*/ 212 h 357"/>
                <a:gd name="T62" fmla="*/ 24 w 250"/>
                <a:gd name="T63" fmla="*/ 234 h 357"/>
                <a:gd name="T64" fmla="*/ 14 w 250"/>
                <a:gd name="T65" fmla="*/ 257 h 357"/>
                <a:gd name="T66" fmla="*/ 11 w 250"/>
                <a:gd name="T67" fmla="*/ 280 h 357"/>
                <a:gd name="T68" fmla="*/ 7 w 250"/>
                <a:gd name="T69" fmla="*/ 304 h 357"/>
                <a:gd name="T70" fmla="*/ 0 w 250"/>
                <a:gd name="T71" fmla="*/ 324 h 357"/>
                <a:gd name="T72" fmla="*/ 2 w 250"/>
                <a:gd name="T73" fmla="*/ 345 h 357"/>
                <a:gd name="T74" fmla="*/ 21 w 250"/>
                <a:gd name="T75" fmla="*/ 357 h 357"/>
                <a:gd name="T76" fmla="*/ 38 w 250"/>
                <a:gd name="T77" fmla="*/ 349 h 357"/>
                <a:gd name="T78" fmla="*/ 53 w 250"/>
                <a:gd name="T79" fmla="*/ 346 h 357"/>
                <a:gd name="T80" fmla="*/ 68 w 250"/>
                <a:gd name="T81" fmla="*/ 333 h 357"/>
                <a:gd name="T82" fmla="*/ 83 w 250"/>
                <a:gd name="T83" fmla="*/ 325 h 357"/>
                <a:gd name="T84" fmla="*/ 89 w 250"/>
                <a:gd name="T85" fmla="*/ 309 h 357"/>
                <a:gd name="T86" fmla="*/ 108 w 250"/>
                <a:gd name="T87" fmla="*/ 295 h 357"/>
                <a:gd name="T88" fmla="*/ 128 w 250"/>
                <a:gd name="T89" fmla="*/ 291 h 357"/>
                <a:gd name="T90" fmla="*/ 141 w 250"/>
                <a:gd name="T91" fmla="*/ 290 h 357"/>
                <a:gd name="T92" fmla="*/ 164 w 250"/>
                <a:gd name="T93" fmla="*/ 284 h 357"/>
                <a:gd name="T94" fmla="*/ 164 w 250"/>
                <a:gd name="T95" fmla="*/ 296 h 357"/>
                <a:gd name="T96" fmla="*/ 169 w 250"/>
                <a:gd name="T97" fmla="*/ 308 h 357"/>
                <a:gd name="T98" fmla="*/ 194 w 250"/>
                <a:gd name="T99" fmla="*/ 303 h 357"/>
                <a:gd name="T100" fmla="*/ 205 w 250"/>
                <a:gd name="T101" fmla="*/ 286 h 357"/>
                <a:gd name="T102" fmla="*/ 211 w 250"/>
                <a:gd name="T103" fmla="*/ 270 h 357"/>
                <a:gd name="T104" fmla="*/ 217 w 250"/>
                <a:gd name="T105" fmla="*/ 254 h 357"/>
                <a:gd name="T106" fmla="*/ 232 w 250"/>
                <a:gd name="T107" fmla="*/ 241 h 357"/>
                <a:gd name="T108" fmla="*/ 243 w 250"/>
                <a:gd name="T109" fmla="*/ 224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0" h="357">
                  <a:moveTo>
                    <a:pt x="243" y="224"/>
                  </a:moveTo>
                  <a:lnTo>
                    <a:pt x="250" y="208"/>
                  </a:lnTo>
                  <a:lnTo>
                    <a:pt x="246" y="200"/>
                  </a:lnTo>
                  <a:lnTo>
                    <a:pt x="243" y="189"/>
                  </a:lnTo>
                  <a:lnTo>
                    <a:pt x="250" y="182"/>
                  </a:lnTo>
                  <a:lnTo>
                    <a:pt x="250" y="171"/>
                  </a:lnTo>
                  <a:lnTo>
                    <a:pt x="246" y="164"/>
                  </a:lnTo>
                  <a:lnTo>
                    <a:pt x="238" y="157"/>
                  </a:lnTo>
                  <a:lnTo>
                    <a:pt x="231" y="161"/>
                  </a:lnTo>
                  <a:lnTo>
                    <a:pt x="223" y="165"/>
                  </a:lnTo>
                  <a:lnTo>
                    <a:pt x="213" y="164"/>
                  </a:lnTo>
                  <a:lnTo>
                    <a:pt x="207" y="157"/>
                  </a:lnTo>
                  <a:lnTo>
                    <a:pt x="198" y="154"/>
                  </a:lnTo>
                  <a:lnTo>
                    <a:pt x="190" y="140"/>
                  </a:lnTo>
                  <a:lnTo>
                    <a:pt x="194" y="131"/>
                  </a:lnTo>
                  <a:lnTo>
                    <a:pt x="196" y="118"/>
                  </a:lnTo>
                  <a:lnTo>
                    <a:pt x="195" y="113"/>
                  </a:lnTo>
                  <a:lnTo>
                    <a:pt x="195" y="102"/>
                  </a:lnTo>
                  <a:lnTo>
                    <a:pt x="195" y="91"/>
                  </a:lnTo>
                  <a:lnTo>
                    <a:pt x="198" y="81"/>
                  </a:lnTo>
                  <a:lnTo>
                    <a:pt x="201" y="71"/>
                  </a:lnTo>
                  <a:lnTo>
                    <a:pt x="199" y="62"/>
                  </a:lnTo>
                  <a:lnTo>
                    <a:pt x="201" y="54"/>
                  </a:lnTo>
                  <a:lnTo>
                    <a:pt x="207" y="48"/>
                  </a:lnTo>
                  <a:lnTo>
                    <a:pt x="205" y="38"/>
                  </a:lnTo>
                  <a:lnTo>
                    <a:pt x="210" y="32"/>
                  </a:lnTo>
                  <a:lnTo>
                    <a:pt x="206" y="25"/>
                  </a:lnTo>
                  <a:lnTo>
                    <a:pt x="205" y="17"/>
                  </a:lnTo>
                  <a:lnTo>
                    <a:pt x="205" y="6"/>
                  </a:lnTo>
                  <a:lnTo>
                    <a:pt x="201" y="0"/>
                  </a:lnTo>
                  <a:lnTo>
                    <a:pt x="196" y="2"/>
                  </a:lnTo>
                  <a:lnTo>
                    <a:pt x="181" y="2"/>
                  </a:lnTo>
                  <a:lnTo>
                    <a:pt x="167" y="1"/>
                  </a:lnTo>
                  <a:lnTo>
                    <a:pt x="157" y="5"/>
                  </a:lnTo>
                  <a:lnTo>
                    <a:pt x="151" y="11"/>
                  </a:lnTo>
                  <a:lnTo>
                    <a:pt x="142" y="20"/>
                  </a:lnTo>
                  <a:lnTo>
                    <a:pt x="132" y="23"/>
                  </a:lnTo>
                  <a:lnTo>
                    <a:pt x="126" y="28"/>
                  </a:lnTo>
                  <a:lnTo>
                    <a:pt x="114" y="28"/>
                  </a:lnTo>
                  <a:lnTo>
                    <a:pt x="108" y="34"/>
                  </a:lnTo>
                  <a:lnTo>
                    <a:pt x="113" y="46"/>
                  </a:lnTo>
                  <a:lnTo>
                    <a:pt x="110" y="55"/>
                  </a:lnTo>
                  <a:lnTo>
                    <a:pt x="110" y="62"/>
                  </a:lnTo>
                  <a:lnTo>
                    <a:pt x="111" y="69"/>
                  </a:lnTo>
                  <a:lnTo>
                    <a:pt x="103" y="75"/>
                  </a:lnTo>
                  <a:lnTo>
                    <a:pt x="103" y="86"/>
                  </a:lnTo>
                  <a:lnTo>
                    <a:pt x="99" y="92"/>
                  </a:lnTo>
                  <a:lnTo>
                    <a:pt x="106" y="98"/>
                  </a:lnTo>
                  <a:lnTo>
                    <a:pt x="102" y="105"/>
                  </a:lnTo>
                  <a:lnTo>
                    <a:pt x="92" y="110"/>
                  </a:lnTo>
                  <a:lnTo>
                    <a:pt x="83" y="120"/>
                  </a:lnTo>
                  <a:lnTo>
                    <a:pt x="74" y="128"/>
                  </a:lnTo>
                  <a:lnTo>
                    <a:pt x="72" y="138"/>
                  </a:lnTo>
                  <a:lnTo>
                    <a:pt x="73" y="146"/>
                  </a:lnTo>
                  <a:lnTo>
                    <a:pt x="66" y="159"/>
                  </a:lnTo>
                  <a:lnTo>
                    <a:pt x="59" y="173"/>
                  </a:lnTo>
                  <a:lnTo>
                    <a:pt x="55" y="181"/>
                  </a:lnTo>
                  <a:lnTo>
                    <a:pt x="54" y="191"/>
                  </a:lnTo>
                  <a:lnTo>
                    <a:pt x="58" y="197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36" y="212"/>
                  </a:lnTo>
                  <a:lnTo>
                    <a:pt x="26" y="221"/>
                  </a:lnTo>
                  <a:lnTo>
                    <a:pt x="24" y="234"/>
                  </a:lnTo>
                  <a:lnTo>
                    <a:pt x="20" y="248"/>
                  </a:lnTo>
                  <a:lnTo>
                    <a:pt x="14" y="257"/>
                  </a:lnTo>
                  <a:lnTo>
                    <a:pt x="15" y="268"/>
                  </a:lnTo>
                  <a:lnTo>
                    <a:pt x="11" y="280"/>
                  </a:lnTo>
                  <a:lnTo>
                    <a:pt x="10" y="292"/>
                  </a:lnTo>
                  <a:lnTo>
                    <a:pt x="7" y="304"/>
                  </a:lnTo>
                  <a:lnTo>
                    <a:pt x="2" y="314"/>
                  </a:lnTo>
                  <a:lnTo>
                    <a:pt x="0" y="324"/>
                  </a:lnTo>
                  <a:lnTo>
                    <a:pt x="1" y="337"/>
                  </a:lnTo>
                  <a:lnTo>
                    <a:pt x="2" y="345"/>
                  </a:lnTo>
                  <a:lnTo>
                    <a:pt x="8" y="353"/>
                  </a:lnTo>
                  <a:lnTo>
                    <a:pt x="21" y="357"/>
                  </a:lnTo>
                  <a:lnTo>
                    <a:pt x="33" y="356"/>
                  </a:lnTo>
                  <a:lnTo>
                    <a:pt x="38" y="349"/>
                  </a:lnTo>
                  <a:lnTo>
                    <a:pt x="44" y="344"/>
                  </a:lnTo>
                  <a:lnTo>
                    <a:pt x="53" y="346"/>
                  </a:lnTo>
                  <a:lnTo>
                    <a:pt x="59" y="337"/>
                  </a:lnTo>
                  <a:lnTo>
                    <a:pt x="68" y="333"/>
                  </a:lnTo>
                  <a:lnTo>
                    <a:pt x="80" y="331"/>
                  </a:lnTo>
                  <a:lnTo>
                    <a:pt x="83" y="325"/>
                  </a:lnTo>
                  <a:lnTo>
                    <a:pt x="80" y="316"/>
                  </a:lnTo>
                  <a:lnTo>
                    <a:pt x="89" y="309"/>
                  </a:lnTo>
                  <a:lnTo>
                    <a:pt x="98" y="303"/>
                  </a:lnTo>
                  <a:lnTo>
                    <a:pt x="108" y="295"/>
                  </a:lnTo>
                  <a:lnTo>
                    <a:pt x="115" y="290"/>
                  </a:lnTo>
                  <a:lnTo>
                    <a:pt x="128" y="291"/>
                  </a:lnTo>
                  <a:lnTo>
                    <a:pt x="134" y="297"/>
                  </a:lnTo>
                  <a:lnTo>
                    <a:pt x="141" y="290"/>
                  </a:lnTo>
                  <a:lnTo>
                    <a:pt x="153" y="285"/>
                  </a:lnTo>
                  <a:lnTo>
                    <a:pt x="164" y="284"/>
                  </a:lnTo>
                  <a:lnTo>
                    <a:pt x="171" y="291"/>
                  </a:lnTo>
                  <a:lnTo>
                    <a:pt x="164" y="296"/>
                  </a:lnTo>
                  <a:lnTo>
                    <a:pt x="161" y="303"/>
                  </a:lnTo>
                  <a:lnTo>
                    <a:pt x="169" y="308"/>
                  </a:lnTo>
                  <a:lnTo>
                    <a:pt x="185" y="308"/>
                  </a:lnTo>
                  <a:lnTo>
                    <a:pt x="194" y="303"/>
                  </a:lnTo>
                  <a:lnTo>
                    <a:pt x="199" y="296"/>
                  </a:lnTo>
                  <a:lnTo>
                    <a:pt x="205" y="286"/>
                  </a:lnTo>
                  <a:lnTo>
                    <a:pt x="211" y="278"/>
                  </a:lnTo>
                  <a:lnTo>
                    <a:pt x="211" y="270"/>
                  </a:lnTo>
                  <a:lnTo>
                    <a:pt x="214" y="264"/>
                  </a:lnTo>
                  <a:lnTo>
                    <a:pt x="217" y="254"/>
                  </a:lnTo>
                  <a:lnTo>
                    <a:pt x="224" y="248"/>
                  </a:lnTo>
                  <a:lnTo>
                    <a:pt x="232" y="241"/>
                  </a:lnTo>
                  <a:lnTo>
                    <a:pt x="242" y="232"/>
                  </a:lnTo>
                  <a:lnTo>
                    <a:pt x="243" y="224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547D36BE-581C-4BC0-98D7-FA292B755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2" y="1737"/>
              <a:ext cx="527" cy="317"/>
            </a:xfrm>
            <a:custGeom>
              <a:avLst/>
              <a:gdLst>
                <a:gd name="T0" fmla="*/ 7 w 527"/>
                <a:gd name="T1" fmla="*/ 231 h 317"/>
                <a:gd name="T2" fmla="*/ 15 w 527"/>
                <a:gd name="T3" fmla="*/ 211 h 317"/>
                <a:gd name="T4" fmla="*/ 21 w 527"/>
                <a:gd name="T5" fmla="*/ 190 h 317"/>
                <a:gd name="T6" fmla="*/ 27 w 527"/>
                <a:gd name="T7" fmla="*/ 167 h 317"/>
                <a:gd name="T8" fmla="*/ 50 w 527"/>
                <a:gd name="T9" fmla="*/ 159 h 317"/>
                <a:gd name="T10" fmla="*/ 81 w 527"/>
                <a:gd name="T11" fmla="*/ 153 h 317"/>
                <a:gd name="T12" fmla="*/ 98 w 527"/>
                <a:gd name="T13" fmla="*/ 130 h 317"/>
                <a:gd name="T14" fmla="*/ 125 w 527"/>
                <a:gd name="T15" fmla="*/ 130 h 317"/>
                <a:gd name="T16" fmla="*/ 132 w 527"/>
                <a:gd name="T17" fmla="*/ 104 h 317"/>
                <a:gd name="T18" fmla="*/ 110 w 527"/>
                <a:gd name="T19" fmla="*/ 84 h 317"/>
                <a:gd name="T20" fmla="*/ 110 w 527"/>
                <a:gd name="T21" fmla="*/ 57 h 317"/>
                <a:gd name="T22" fmla="*/ 103 w 527"/>
                <a:gd name="T23" fmla="*/ 24 h 317"/>
                <a:gd name="T24" fmla="*/ 126 w 527"/>
                <a:gd name="T25" fmla="*/ 34 h 317"/>
                <a:gd name="T26" fmla="*/ 144 w 527"/>
                <a:gd name="T27" fmla="*/ 46 h 317"/>
                <a:gd name="T28" fmla="*/ 177 w 527"/>
                <a:gd name="T29" fmla="*/ 30 h 317"/>
                <a:gd name="T30" fmla="*/ 207 w 527"/>
                <a:gd name="T31" fmla="*/ 24 h 317"/>
                <a:gd name="T32" fmla="*/ 240 w 527"/>
                <a:gd name="T33" fmla="*/ 23 h 317"/>
                <a:gd name="T34" fmla="*/ 276 w 527"/>
                <a:gd name="T35" fmla="*/ 18 h 317"/>
                <a:gd name="T36" fmla="*/ 313 w 527"/>
                <a:gd name="T37" fmla="*/ 16 h 317"/>
                <a:gd name="T38" fmla="*/ 351 w 527"/>
                <a:gd name="T39" fmla="*/ 16 h 317"/>
                <a:gd name="T40" fmla="*/ 397 w 527"/>
                <a:gd name="T41" fmla="*/ 13 h 317"/>
                <a:gd name="T42" fmla="*/ 434 w 527"/>
                <a:gd name="T43" fmla="*/ 0 h 317"/>
                <a:gd name="T44" fmla="*/ 480 w 527"/>
                <a:gd name="T45" fmla="*/ 11 h 317"/>
                <a:gd name="T46" fmla="*/ 502 w 527"/>
                <a:gd name="T47" fmla="*/ 26 h 317"/>
                <a:gd name="T48" fmla="*/ 527 w 527"/>
                <a:gd name="T49" fmla="*/ 35 h 317"/>
                <a:gd name="T50" fmla="*/ 515 w 527"/>
                <a:gd name="T51" fmla="*/ 55 h 317"/>
                <a:gd name="T52" fmla="*/ 499 w 527"/>
                <a:gd name="T53" fmla="*/ 73 h 317"/>
                <a:gd name="T54" fmla="*/ 489 w 527"/>
                <a:gd name="T55" fmla="*/ 93 h 317"/>
                <a:gd name="T56" fmla="*/ 466 w 527"/>
                <a:gd name="T57" fmla="*/ 106 h 317"/>
                <a:gd name="T58" fmla="*/ 427 w 527"/>
                <a:gd name="T59" fmla="*/ 119 h 317"/>
                <a:gd name="T60" fmla="*/ 393 w 527"/>
                <a:gd name="T61" fmla="*/ 141 h 317"/>
                <a:gd name="T62" fmla="*/ 370 w 527"/>
                <a:gd name="T63" fmla="*/ 167 h 317"/>
                <a:gd name="T64" fmla="*/ 344 w 527"/>
                <a:gd name="T65" fmla="*/ 196 h 317"/>
                <a:gd name="T66" fmla="*/ 320 w 527"/>
                <a:gd name="T67" fmla="*/ 217 h 317"/>
                <a:gd name="T68" fmla="*/ 280 w 527"/>
                <a:gd name="T69" fmla="*/ 238 h 317"/>
                <a:gd name="T70" fmla="*/ 240 w 527"/>
                <a:gd name="T71" fmla="*/ 260 h 317"/>
                <a:gd name="T72" fmla="*/ 188 w 527"/>
                <a:gd name="T73" fmla="*/ 297 h 317"/>
                <a:gd name="T74" fmla="*/ 156 w 527"/>
                <a:gd name="T75" fmla="*/ 291 h 317"/>
                <a:gd name="T76" fmla="*/ 118 w 527"/>
                <a:gd name="T77" fmla="*/ 310 h 317"/>
                <a:gd name="T78" fmla="*/ 90 w 527"/>
                <a:gd name="T79" fmla="*/ 306 h 317"/>
                <a:gd name="T80" fmla="*/ 61 w 527"/>
                <a:gd name="T81" fmla="*/ 317 h 317"/>
                <a:gd name="T82" fmla="*/ 34 w 527"/>
                <a:gd name="T83" fmla="*/ 288 h 317"/>
                <a:gd name="T84" fmla="*/ 4 w 527"/>
                <a:gd name="T85" fmla="*/ 251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27" h="317">
                  <a:moveTo>
                    <a:pt x="4" y="251"/>
                  </a:moveTo>
                  <a:lnTo>
                    <a:pt x="0" y="242"/>
                  </a:lnTo>
                  <a:lnTo>
                    <a:pt x="7" y="231"/>
                  </a:lnTo>
                  <a:lnTo>
                    <a:pt x="4" y="220"/>
                  </a:lnTo>
                  <a:lnTo>
                    <a:pt x="7" y="213"/>
                  </a:lnTo>
                  <a:lnTo>
                    <a:pt x="15" y="211"/>
                  </a:lnTo>
                  <a:lnTo>
                    <a:pt x="23" y="204"/>
                  </a:lnTo>
                  <a:lnTo>
                    <a:pt x="28" y="194"/>
                  </a:lnTo>
                  <a:lnTo>
                    <a:pt x="21" y="190"/>
                  </a:lnTo>
                  <a:lnTo>
                    <a:pt x="23" y="181"/>
                  </a:lnTo>
                  <a:lnTo>
                    <a:pt x="21" y="172"/>
                  </a:lnTo>
                  <a:lnTo>
                    <a:pt x="27" y="167"/>
                  </a:lnTo>
                  <a:lnTo>
                    <a:pt x="34" y="160"/>
                  </a:lnTo>
                  <a:lnTo>
                    <a:pt x="40" y="155"/>
                  </a:lnTo>
                  <a:lnTo>
                    <a:pt x="50" y="159"/>
                  </a:lnTo>
                  <a:lnTo>
                    <a:pt x="60" y="162"/>
                  </a:lnTo>
                  <a:lnTo>
                    <a:pt x="70" y="159"/>
                  </a:lnTo>
                  <a:lnTo>
                    <a:pt x="81" y="153"/>
                  </a:lnTo>
                  <a:lnTo>
                    <a:pt x="87" y="143"/>
                  </a:lnTo>
                  <a:lnTo>
                    <a:pt x="95" y="136"/>
                  </a:lnTo>
                  <a:lnTo>
                    <a:pt x="98" y="130"/>
                  </a:lnTo>
                  <a:lnTo>
                    <a:pt x="108" y="119"/>
                  </a:lnTo>
                  <a:lnTo>
                    <a:pt x="114" y="128"/>
                  </a:lnTo>
                  <a:lnTo>
                    <a:pt x="125" y="130"/>
                  </a:lnTo>
                  <a:lnTo>
                    <a:pt x="125" y="121"/>
                  </a:lnTo>
                  <a:lnTo>
                    <a:pt x="124" y="110"/>
                  </a:lnTo>
                  <a:lnTo>
                    <a:pt x="132" y="104"/>
                  </a:lnTo>
                  <a:lnTo>
                    <a:pt x="127" y="93"/>
                  </a:lnTo>
                  <a:lnTo>
                    <a:pt x="123" y="88"/>
                  </a:lnTo>
                  <a:lnTo>
                    <a:pt x="110" y="84"/>
                  </a:lnTo>
                  <a:lnTo>
                    <a:pt x="98" y="78"/>
                  </a:lnTo>
                  <a:lnTo>
                    <a:pt x="104" y="71"/>
                  </a:lnTo>
                  <a:lnTo>
                    <a:pt x="110" y="57"/>
                  </a:lnTo>
                  <a:lnTo>
                    <a:pt x="110" y="46"/>
                  </a:lnTo>
                  <a:lnTo>
                    <a:pt x="106" y="36"/>
                  </a:lnTo>
                  <a:lnTo>
                    <a:pt x="103" y="24"/>
                  </a:lnTo>
                  <a:lnTo>
                    <a:pt x="115" y="23"/>
                  </a:lnTo>
                  <a:lnTo>
                    <a:pt x="124" y="26"/>
                  </a:lnTo>
                  <a:lnTo>
                    <a:pt x="126" y="34"/>
                  </a:lnTo>
                  <a:lnTo>
                    <a:pt x="131" y="41"/>
                  </a:lnTo>
                  <a:lnTo>
                    <a:pt x="138" y="40"/>
                  </a:lnTo>
                  <a:lnTo>
                    <a:pt x="144" y="46"/>
                  </a:lnTo>
                  <a:lnTo>
                    <a:pt x="155" y="40"/>
                  </a:lnTo>
                  <a:lnTo>
                    <a:pt x="167" y="34"/>
                  </a:lnTo>
                  <a:lnTo>
                    <a:pt x="177" y="30"/>
                  </a:lnTo>
                  <a:lnTo>
                    <a:pt x="193" y="30"/>
                  </a:lnTo>
                  <a:lnTo>
                    <a:pt x="196" y="24"/>
                  </a:lnTo>
                  <a:lnTo>
                    <a:pt x="207" y="24"/>
                  </a:lnTo>
                  <a:lnTo>
                    <a:pt x="217" y="20"/>
                  </a:lnTo>
                  <a:lnTo>
                    <a:pt x="231" y="20"/>
                  </a:lnTo>
                  <a:lnTo>
                    <a:pt x="240" y="23"/>
                  </a:lnTo>
                  <a:lnTo>
                    <a:pt x="256" y="23"/>
                  </a:lnTo>
                  <a:lnTo>
                    <a:pt x="264" y="17"/>
                  </a:lnTo>
                  <a:lnTo>
                    <a:pt x="276" y="18"/>
                  </a:lnTo>
                  <a:lnTo>
                    <a:pt x="288" y="14"/>
                  </a:lnTo>
                  <a:lnTo>
                    <a:pt x="299" y="8"/>
                  </a:lnTo>
                  <a:lnTo>
                    <a:pt x="313" y="16"/>
                  </a:lnTo>
                  <a:lnTo>
                    <a:pt x="324" y="11"/>
                  </a:lnTo>
                  <a:lnTo>
                    <a:pt x="338" y="14"/>
                  </a:lnTo>
                  <a:lnTo>
                    <a:pt x="351" y="16"/>
                  </a:lnTo>
                  <a:lnTo>
                    <a:pt x="369" y="14"/>
                  </a:lnTo>
                  <a:lnTo>
                    <a:pt x="386" y="17"/>
                  </a:lnTo>
                  <a:lnTo>
                    <a:pt x="397" y="13"/>
                  </a:lnTo>
                  <a:lnTo>
                    <a:pt x="409" y="16"/>
                  </a:lnTo>
                  <a:lnTo>
                    <a:pt x="422" y="7"/>
                  </a:lnTo>
                  <a:lnTo>
                    <a:pt x="434" y="0"/>
                  </a:lnTo>
                  <a:lnTo>
                    <a:pt x="453" y="7"/>
                  </a:lnTo>
                  <a:lnTo>
                    <a:pt x="464" y="5"/>
                  </a:lnTo>
                  <a:lnTo>
                    <a:pt x="480" y="11"/>
                  </a:lnTo>
                  <a:lnTo>
                    <a:pt x="487" y="18"/>
                  </a:lnTo>
                  <a:lnTo>
                    <a:pt x="492" y="26"/>
                  </a:lnTo>
                  <a:lnTo>
                    <a:pt x="502" y="26"/>
                  </a:lnTo>
                  <a:lnTo>
                    <a:pt x="512" y="30"/>
                  </a:lnTo>
                  <a:lnTo>
                    <a:pt x="515" y="36"/>
                  </a:lnTo>
                  <a:lnTo>
                    <a:pt x="527" y="35"/>
                  </a:lnTo>
                  <a:lnTo>
                    <a:pt x="526" y="42"/>
                  </a:lnTo>
                  <a:lnTo>
                    <a:pt x="519" y="46"/>
                  </a:lnTo>
                  <a:lnTo>
                    <a:pt x="515" y="55"/>
                  </a:lnTo>
                  <a:lnTo>
                    <a:pt x="507" y="60"/>
                  </a:lnTo>
                  <a:lnTo>
                    <a:pt x="505" y="67"/>
                  </a:lnTo>
                  <a:lnTo>
                    <a:pt x="499" y="73"/>
                  </a:lnTo>
                  <a:lnTo>
                    <a:pt x="499" y="80"/>
                  </a:lnTo>
                  <a:lnTo>
                    <a:pt x="490" y="86"/>
                  </a:lnTo>
                  <a:lnTo>
                    <a:pt x="489" y="93"/>
                  </a:lnTo>
                  <a:lnTo>
                    <a:pt x="480" y="99"/>
                  </a:lnTo>
                  <a:lnTo>
                    <a:pt x="477" y="105"/>
                  </a:lnTo>
                  <a:lnTo>
                    <a:pt x="466" y="106"/>
                  </a:lnTo>
                  <a:lnTo>
                    <a:pt x="456" y="110"/>
                  </a:lnTo>
                  <a:lnTo>
                    <a:pt x="442" y="110"/>
                  </a:lnTo>
                  <a:lnTo>
                    <a:pt x="427" y="119"/>
                  </a:lnTo>
                  <a:lnTo>
                    <a:pt x="414" y="128"/>
                  </a:lnTo>
                  <a:lnTo>
                    <a:pt x="404" y="134"/>
                  </a:lnTo>
                  <a:lnTo>
                    <a:pt x="393" y="141"/>
                  </a:lnTo>
                  <a:lnTo>
                    <a:pt x="390" y="154"/>
                  </a:lnTo>
                  <a:lnTo>
                    <a:pt x="382" y="160"/>
                  </a:lnTo>
                  <a:lnTo>
                    <a:pt x="370" y="167"/>
                  </a:lnTo>
                  <a:lnTo>
                    <a:pt x="361" y="174"/>
                  </a:lnTo>
                  <a:lnTo>
                    <a:pt x="350" y="180"/>
                  </a:lnTo>
                  <a:lnTo>
                    <a:pt x="344" y="196"/>
                  </a:lnTo>
                  <a:lnTo>
                    <a:pt x="338" y="206"/>
                  </a:lnTo>
                  <a:lnTo>
                    <a:pt x="332" y="213"/>
                  </a:lnTo>
                  <a:lnTo>
                    <a:pt x="320" y="217"/>
                  </a:lnTo>
                  <a:lnTo>
                    <a:pt x="313" y="225"/>
                  </a:lnTo>
                  <a:lnTo>
                    <a:pt x="298" y="229"/>
                  </a:lnTo>
                  <a:lnTo>
                    <a:pt x="280" y="238"/>
                  </a:lnTo>
                  <a:lnTo>
                    <a:pt x="266" y="246"/>
                  </a:lnTo>
                  <a:lnTo>
                    <a:pt x="243" y="250"/>
                  </a:lnTo>
                  <a:lnTo>
                    <a:pt x="240" y="260"/>
                  </a:lnTo>
                  <a:lnTo>
                    <a:pt x="228" y="263"/>
                  </a:lnTo>
                  <a:lnTo>
                    <a:pt x="212" y="268"/>
                  </a:lnTo>
                  <a:lnTo>
                    <a:pt x="188" y="297"/>
                  </a:lnTo>
                  <a:lnTo>
                    <a:pt x="177" y="300"/>
                  </a:lnTo>
                  <a:lnTo>
                    <a:pt x="168" y="297"/>
                  </a:lnTo>
                  <a:lnTo>
                    <a:pt x="156" y="291"/>
                  </a:lnTo>
                  <a:lnTo>
                    <a:pt x="142" y="292"/>
                  </a:lnTo>
                  <a:lnTo>
                    <a:pt x="131" y="298"/>
                  </a:lnTo>
                  <a:lnTo>
                    <a:pt x="118" y="310"/>
                  </a:lnTo>
                  <a:lnTo>
                    <a:pt x="109" y="306"/>
                  </a:lnTo>
                  <a:lnTo>
                    <a:pt x="101" y="310"/>
                  </a:lnTo>
                  <a:lnTo>
                    <a:pt x="90" y="306"/>
                  </a:lnTo>
                  <a:lnTo>
                    <a:pt x="80" y="314"/>
                  </a:lnTo>
                  <a:lnTo>
                    <a:pt x="70" y="311"/>
                  </a:lnTo>
                  <a:lnTo>
                    <a:pt x="61" y="317"/>
                  </a:lnTo>
                  <a:lnTo>
                    <a:pt x="54" y="309"/>
                  </a:lnTo>
                  <a:lnTo>
                    <a:pt x="47" y="299"/>
                  </a:lnTo>
                  <a:lnTo>
                    <a:pt x="34" y="288"/>
                  </a:lnTo>
                  <a:lnTo>
                    <a:pt x="21" y="274"/>
                  </a:lnTo>
                  <a:lnTo>
                    <a:pt x="11" y="263"/>
                  </a:lnTo>
                  <a:lnTo>
                    <a:pt x="4" y="251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35CBA8FC-16D9-4EBD-BC00-86FC091A6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2" y="1737"/>
              <a:ext cx="527" cy="317"/>
            </a:xfrm>
            <a:custGeom>
              <a:avLst/>
              <a:gdLst>
                <a:gd name="T0" fmla="*/ 7 w 527"/>
                <a:gd name="T1" fmla="*/ 231 h 317"/>
                <a:gd name="T2" fmla="*/ 15 w 527"/>
                <a:gd name="T3" fmla="*/ 211 h 317"/>
                <a:gd name="T4" fmla="*/ 21 w 527"/>
                <a:gd name="T5" fmla="*/ 190 h 317"/>
                <a:gd name="T6" fmla="*/ 27 w 527"/>
                <a:gd name="T7" fmla="*/ 167 h 317"/>
                <a:gd name="T8" fmla="*/ 50 w 527"/>
                <a:gd name="T9" fmla="*/ 159 h 317"/>
                <a:gd name="T10" fmla="*/ 81 w 527"/>
                <a:gd name="T11" fmla="*/ 153 h 317"/>
                <a:gd name="T12" fmla="*/ 98 w 527"/>
                <a:gd name="T13" fmla="*/ 130 h 317"/>
                <a:gd name="T14" fmla="*/ 125 w 527"/>
                <a:gd name="T15" fmla="*/ 130 h 317"/>
                <a:gd name="T16" fmla="*/ 132 w 527"/>
                <a:gd name="T17" fmla="*/ 104 h 317"/>
                <a:gd name="T18" fmla="*/ 110 w 527"/>
                <a:gd name="T19" fmla="*/ 84 h 317"/>
                <a:gd name="T20" fmla="*/ 110 w 527"/>
                <a:gd name="T21" fmla="*/ 57 h 317"/>
                <a:gd name="T22" fmla="*/ 103 w 527"/>
                <a:gd name="T23" fmla="*/ 24 h 317"/>
                <a:gd name="T24" fmla="*/ 126 w 527"/>
                <a:gd name="T25" fmla="*/ 34 h 317"/>
                <a:gd name="T26" fmla="*/ 144 w 527"/>
                <a:gd name="T27" fmla="*/ 46 h 317"/>
                <a:gd name="T28" fmla="*/ 177 w 527"/>
                <a:gd name="T29" fmla="*/ 30 h 317"/>
                <a:gd name="T30" fmla="*/ 207 w 527"/>
                <a:gd name="T31" fmla="*/ 24 h 317"/>
                <a:gd name="T32" fmla="*/ 240 w 527"/>
                <a:gd name="T33" fmla="*/ 23 h 317"/>
                <a:gd name="T34" fmla="*/ 276 w 527"/>
                <a:gd name="T35" fmla="*/ 18 h 317"/>
                <a:gd name="T36" fmla="*/ 313 w 527"/>
                <a:gd name="T37" fmla="*/ 16 h 317"/>
                <a:gd name="T38" fmla="*/ 351 w 527"/>
                <a:gd name="T39" fmla="*/ 16 h 317"/>
                <a:gd name="T40" fmla="*/ 397 w 527"/>
                <a:gd name="T41" fmla="*/ 13 h 317"/>
                <a:gd name="T42" fmla="*/ 434 w 527"/>
                <a:gd name="T43" fmla="*/ 0 h 317"/>
                <a:gd name="T44" fmla="*/ 480 w 527"/>
                <a:gd name="T45" fmla="*/ 11 h 317"/>
                <a:gd name="T46" fmla="*/ 502 w 527"/>
                <a:gd name="T47" fmla="*/ 26 h 317"/>
                <a:gd name="T48" fmla="*/ 527 w 527"/>
                <a:gd name="T49" fmla="*/ 35 h 317"/>
                <a:gd name="T50" fmla="*/ 515 w 527"/>
                <a:gd name="T51" fmla="*/ 55 h 317"/>
                <a:gd name="T52" fmla="*/ 499 w 527"/>
                <a:gd name="T53" fmla="*/ 73 h 317"/>
                <a:gd name="T54" fmla="*/ 489 w 527"/>
                <a:gd name="T55" fmla="*/ 93 h 317"/>
                <a:gd name="T56" fmla="*/ 466 w 527"/>
                <a:gd name="T57" fmla="*/ 106 h 317"/>
                <a:gd name="T58" fmla="*/ 427 w 527"/>
                <a:gd name="T59" fmla="*/ 119 h 317"/>
                <a:gd name="T60" fmla="*/ 393 w 527"/>
                <a:gd name="T61" fmla="*/ 141 h 317"/>
                <a:gd name="T62" fmla="*/ 370 w 527"/>
                <a:gd name="T63" fmla="*/ 167 h 317"/>
                <a:gd name="T64" fmla="*/ 344 w 527"/>
                <a:gd name="T65" fmla="*/ 196 h 317"/>
                <a:gd name="T66" fmla="*/ 320 w 527"/>
                <a:gd name="T67" fmla="*/ 217 h 317"/>
                <a:gd name="T68" fmla="*/ 280 w 527"/>
                <a:gd name="T69" fmla="*/ 238 h 317"/>
                <a:gd name="T70" fmla="*/ 240 w 527"/>
                <a:gd name="T71" fmla="*/ 260 h 317"/>
                <a:gd name="T72" fmla="*/ 188 w 527"/>
                <a:gd name="T73" fmla="*/ 297 h 317"/>
                <a:gd name="T74" fmla="*/ 156 w 527"/>
                <a:gd name="T75" fmla="*/ 291 h 317"/>
                <a:gd name="T76" fmla="*/ 118 w 527"/>
                <a:gd name="T77" fmla="*/ 310 h 317"/>
                <a:gd name="T78" fmla="*/ 90 w 527"/>
                <a:gd name="T79" fmla="*/ 306 h 317"/>
                <a:gd name="T80" fmla="*/ 61 w 527"/>
                <a:gd name="T81" fmla="*/ 317 h 317"/>
                <a:gd name="T82" fmla="*/ 34 w 527"/>
                <a:gd name="T83" fmla="*/ 288 h 317"/>
                <a:gd name="T84" fmla="*/ 4 w 527"/>
                <a:gd name="T85" fmla="*/ 251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27" h="317">
                  <a:moveTo>
                    <a:pt x="4" y="251"/>
                  </a:moveTo>
                  <a:lnTo>
                    <a:pt x="0" y="242"/>
                  </a:lnTo>
                  <a:lnTo>
                    <a:pt x="7" y="231"/>
                  </a:lnTo>
                  <a:lnTo>
                    <a:pt x="4" y="220"/>
                  </a:lnTo>
                  <a:lnTo>
                    <a:pt x="7" y="213"/>
                  </a:lnTo>
                  <a:lnTo>
                    <a:pt x="15" y="211"/>
                  </a:lnTo>
                  <a:lnTo>
                    <a:pt x="23" y="204"/>
                  </a:lnTo>
                  <a:lnTo>
                    <a:pt x="28" y="194"/>
                  </a:lnTo>
                  <a:lnTo>
                    <a:pt x="21" y="190"/>
                  </a:lnTo>
                  <a:lnTo>
                    <a:pt x="23" y="181"/>
                  </a:lnTo>
                  <a:lnTo>
                    <a:pt x="21" y="172"/>
                  </a:lnTo>
                  <a:lnTo>
                    <a:pt x="27" y="167"/>
                  </a:lnTo>
                  <a:lnTo>
                    <a:pt x="34" y="160"/>
                  </a:lnTo>
                  <a:lnTo>
                    <a:pt x="40" y="155"/>
                  </a:lnTo>
                  <a:lnTo>
                    <a:pt x="50" y="159"/>
                  </a:lnTo>
                  <a:lnTo>
                    <a:pt x="60" y="162"/>
                  </a:lnTo>
                  <a:lnTo>
                    <a:pt x="70" y="159"/>
                  </a:lnTo>
                  <a:lnTo>
                    <a:pt x="81" y="153"/>
                  </a:lnTo>
                  <a:lnTo>
                    <a:pt x="87" y="143"/>
                  </a:lnTo>
                  <a:lnTo>
                    <a:pt x="95" y="136"/>
                  </a:lnTo>
                  <a:lnTo>
                    <a:pt x="98" y="130"/>
                  </a:lnTo>
                  <a:lnTo>
                    <a:pt x="108" y="119"/>
                  </a:lnTo>
                  <a:lnTo>
                    <a:pt x="114" y="128"/>
                  </a:lnTo>
                  <a:lnTo>
                    <a:pt x="125" y="130"/>
                  </a:lnTo>
                  <a:lnTo>
                    <a:pt x="125" y="121"/>
                  </a:lnTo>
                  <a:lnTo>
                    <a:pt x="124" y="110"/>
                  </a:lnTo>
                  <a:lnTo>
                    <a:pt x="132" y="104"/>
                  </a:lnTo>
                  <a:lnTo>
                    <a:pt x="127" y="93"/>
                  </a:lnTo>
                  <a:lnTo>
                    <a:pt x="123" y="88"/>
                  </a:lnTo>
                  <a:lnTo>
                    <a:pt x="110" y="84"/>
                  </a:lnTo>
                  <a:lnTo>
                    <a:pt x="98" y="78"/>
                  </a:lnTo>
                  <a:lnTo>
                    <a:pt x="104" y="71"/>
                  </a:lnTo>
                  <a:lnTo>
                    <a:pt x="110" y="57"/>
                  </a:lnTo>
                  <a:lnTo>
                    <a:pt x="110" y="46"/>
                  </a:lnTo>
                  <a:lnTo>
                    <a:pt x="106" y="36"/>
                  </a:lnTo>
                  <a:lnTo>
                    <a:pt x="103" y="24"/>
                  </a:lnTo>
                  <a:lnTo>
                    <a:pt x="115" y="23"/>
                  </a:lnTo>
                  <a:lnTo>
                    <a:pt x="124" y="26"/>
                  </a:lnTo>
                  <a:lnTo>
                    <a:pt x="126" y="34"/>
                  </a:lnTo>
                  <a:lnTo>
                    <a:pt x="131" y="41"/>
                  </a:lnTo>
                  <a:lnTo>
                    <a:pt x="138" y="40"/>
                  </a:lnTo>
                  <a:lnTo>
                    <a:pt x="144" y="46"/>
                  </a:lnTo>
                  <a:lnTo>
                    <a:pt x="155" y="40"/>
                  </a:lnTo>
                  <a:lnTo>
                    <a:pt x="167" y="34"/>
                  </a:lnTo>
                  <a:lnTo>
                    <a:pt x="177" y="30"/>
                  </a:lnTo>
                  <a:lnTo>
                    <a:pt x="193" y="30"/>
                  </a:lnTo>
                  <a:lnTo>
                    <a:pt x="196" y="24"/>
                  </a:lnTo>
                  <a:lnTo>
                    <a:pt x="207" y="24"/>
                  </a:lnTo>
                  <a:lnTo>
                    <a:pt x="217" y="20"/>
                  </a:lnTo>
                  <a:lnTo>
                    <a:pt x="231" y="20"/>
                  </a:lnTo>
                  <a:lnTo>
                    <a:pt x="240" y="23"/>
                  </a:lnTo>
                  <a:lnTo>
                    <a:pt x="256" y="23"/>
                  </a:lnTo>
                  <a:lnTo>
                    <a:pt x="264" y="17"/>
                  </a:lnTo>
                  <a:lnTo>
                    <a:pt x="276" y="18"/>
                  </a:lnTo>
                  <a:lnTo>
                    <a:pt x="288" y="14"/>
                  </a:lnTo>
                  <a:lnTo>
                    <a:pt x="299" y="8"/>
                  </a:lnTo>
                  <a:lnTo>
                    <a:pt x="313" y="16"/>
                  </a:lnTo>
                  <a:lnTo>
                    <a:pt x="324" y="11"/>
                  </a:lnTo>
                  <a:lnTo>
                    <a:pt x="338" y="14"/>
                  </a:lnTo>
                  <a:lnTo>
                    <a:pt x="351" y="16"/>
                  </a:lnTo>
                  <a:lnTo>
                    <a:pt x="369" y="14"/>
                  </a:lnTo>
                  <a:lnTo>
                    <a:pt x="386" y="17"/>
                  </a:lnTo>
                  <a:lnTo>
                    <a:pt x="397" y="13"/>
                  </a:lnTo>
                  <a:lnTo>
                    <a:pt x="409" y="16"/>
                  </a:lnTo>
                  <a:lnTo>
                    <a:pt x="422" y="7"/>
                  </a:lnTo>
                  <a:lnTo>
                    <a:pt x="434" y="0"/>
                  </a:lnTo>
                  <a:lnTo>
                    <a:pt x="453" y="7"/>
                  </a:lnTo>
                  <a:lnTo>
                    <a:pt x="464" y="5"/>
                  </a:lnTo>
                  <a:lnTo>
                    <a:pt x="480" y="11"/>
                  </a:lnTo>
                  <a:lnTo>
                    <a:pt x="487" y="18"/>
                  </a:lnTo>
                  <a:lnTo>
                    <a:pt x="492" y="26"/>
                  </a:lnTo>
                  <a:lnTo>
                    <a:pt x="502" y="26"/>
                  </a:lnTo>
                  <a:lnTo>
                    <a:pt x="512" y="30"/>
                  </a:lnTo>
                  <a:lnTo>
                    <a:pt x="515" y="36"/>
                  </a:lnTo>
                  <a:lnTo>
                    <a:pt x="527" y="35"/>
                  </a:lnTo>
                  <a:lnTo>
                    <a:pt x="526" y="42"/>
                  </a:lnTo>
                  <a:lnTo>
                    <a:pt x="519" y="46"/>
                  </a:lnTo>
                  <a:lnTo>
                    <a:pt x="515" y="55"/>
                  </a:lnTo>
                  <a:lnTo>
                    <a:pt x="507" y="60"/>
                  </a:lnTo>
                  <a:lnTo>
                    <a:pt x="505" y="67"/>
                  </a:lnTo>
                  <a:lnTo>
                    <a:pt x="499" y="73"/>
                  </a:lnTo>
                  <a:lnTo>
                    <a:pt x="499" y="80"/>
                  </a:lnTo>
                  <a:lnTo>
                    <a:pt x="490" y="86"/>
                  </a:lnTo>
                  <a:lnTo>
                    <a:pt x="489" y="93"/>
                  </a:lnTo>
                  <a:lnTo>
                    <a:pt x="480" y="99"/>
                  </a:lnTo>
                  <a:lnTo>
                    <a:pt x="477" y="105"/>
                  </a:lnTo>
                  <a:lnTo>
                    <a:pt x="466" y="106"/>
                  </a:lnTo>
                  <a:lnTo>
                    <a:pt x="456" y="110"/>
                  </a:lnTo>
                  <a:lnTo>
                    <a:pt x="442" y="110"/>
                  </a:lnTo>
                  <a:lnTo>
                    <a:pt x="427" y="119"/>
                  </a:lnTo>
                  <a:lnTo>
                    <a:pt x="414" y="128"/>
                  </a:lnTo>
                  <a:lnTo>
                    <a:pt x="404" y="134"/>
                  </a:lnTo>
                  <a:lnTo>
                    <a:pt x="393" y="141"/>
                  </a:lnTo>
                  <a:lnTo>
                    <a:pt x="390" y="154"/>
                  </a:lnTo>
                  <a:lnTo>
                    <a:pt x="382" y="160"/>
                  </a:lnTo>
                  <a:lnTo>
                    <a:pt x="370" y="167"/>
                  </a:lnTo>
                  <a:lnTo>
                    <a:pt x="361" y="174"/>
                  </a:lnTo>
                  <a:lnTo>
                    <a:pt x="350" y="180"/>
                  </a:lnTo>
                  <a:lnTo>
                    <a:pt x="344" y="196"/>
                  </a:lnTo>
                  <a:lnTo>
                    <a:pt x="338" y="206"/>
                  </a:lnTo>
                  <a:lnTo>
                    <a:pt x="332" y="213"/>
                  </a:lnTo>
                  <a:lnTo>
                    <a:pt x="320" y="217"/>
                  </a:lnTo>
                  <a:lnTo>
                    <a:pt x="313" y="225"/>
                  </a:lnTo>
                  <a:lnTo>
                    <a:pt x="298" y="229"/>
                  </a:lnTo>
                  <a:lnTo>
                    <a:pt x="280" y="238"/>
                  </a:lnTo>
                  <a:lnTo>
                    <a:pt x="266" y="246"/>
                  </a:lnTo>
                  <a:lnTo>
                    <a:pt x="243" y="250"/>
                  </a:lnTo>
                  <a:lnTo>
                    <a:pt x="240" y="260"/>
                  </a:lnTo>
                  <a:lnTo>
                    <a:pt x="228" y="263"/>
                  </a:lnTo>
                  <a:lnTo>
                    <a:pt x="212" y="268"/>
                  </a:lnTo>
                  <a:lnTo>
                    <a:pt x="188" y="297"/>
                  </a:lnTo>
                  <a:lnTo>
                    <a:pt x="177" y="300"/>
                  </a:lnTo>
                  <a:lnTo>
                    <a:pt x="168" y="297"/>
                  </a:lnTo>
                  <a:lnTo>
                    <a:pt x="156" y="291"/>
                  </a:lnTo>
                  <a:lnTo>
                    <a:pt x="142" y="292"/>
                  </a:lnTo>
                  <a:lnTo>
                    <a:pt x="131" y="298"/>
                  </a:lnTo>
                  <a:lnTo>
                    <a:pt x="118" y="310"/>
                  </a:lnTo>
                  <a:lnTo>
                    <a:pt x="109" y="306"/>
                  </a:lnTo>
                  <a:lnTo>
                    <a:pt x="101" y="310"/>
                  </a:lnTo>
                  <a:lnTo>
                    <a:pt x="90" y="306"/>
                  </a:lnTo>
                  <a:lnTo>
                    <a:pt x="80" y="314"/>
                  </a:lnTo>
                  <a:lnTo>
                    <a:pt x="70" y="311"/>
                  </a:lnTo>
                  <a:lnTo>
                    <a:pt x="61" y="317"/>
                  </a:lnTo>
                  <a:lnTo>
                    <a:pt x="54" y="309"/>
                  </a:lnTo>
                  <a:lnTo>
                    <a:pt x="47" y="299"/>
                  </a:lnTo>
                  <a:lnTo>
                    <a:pt x="34" y="288"/>
                  </a:lnTo>
                  <a:lnTo>
                    <a:pt x="21" y="274"/>
                  </a:lnTo>
                  <a:lnTo>
                    <a:pt x="11" y="263"/>
                  </a:lnTo>
                  <a:lnTo>
                    <a:pt x="4" y="251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05C8EB84-7595-42E0-A461-B94F8AEED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" y="1952"/>
              <a:ext cx="624" cy="510"/>
            </a:xfrm>
            <a:custGeom>
              <a:avLst/>
              <a:gdLst>
                <a:gd name="T0" fmla="*/ 618 w 624"/>
                <a:gd name="T1" fmla="*/ 308 h 510"/>
                <a:gd name="T2" fmla="*/ 593 w 624"/>
                <a:gd name="T3" fmla="*/ 307 h 510"/>
                <a:gd name="T4" fmla="*/ 578 w 624"/>
                <a:gd name="T5" fmla="*/ 307 h 510"/>
                <a:gd name="T6" fmla="*/ 558 w 624"/>
                <a:gd name="T7" fmla="*/ 311 h 510"/>
                <a:gd name="T8" fmla="*/ 531 w 624"/>
                <a:gd name="T9" fmla="*/ 313 h 510"/>
                <a:gd name="T10" fmla="*/ 505 w 624"/>
                <a:gd name="T11" fmla="*/ 315 h 510"/>
                <a:gd name="T12" fmla="*/ 462 w 624"/>
                <a:gd name="T13" fmla="*/ 321 h 510"/>
                <a:gd name="T14" fmla="*/ 442 w 624"/>
                <a:gd name="T15" fmla="*/ 318 h 510"/>
                <a:gd name="T16" fmla="*/ 426 w 624"/>
                <a:gd name="T17" fmla="*/ 327 h 510"/>
                <a:gd name="T18" fmla="*/ 391 w 624"/>
                <a:gd name="T19" fmla="*/ 336 h 510"/>
                <a:gd name="T20" fmla="*/ 380 w 624"/>
                <a:gd name="T21" fmla="*/ 351 h 510"/>
                <a:gd name="T22" fmla="*/ 348 w 624"/>
                <a:gd name="T23" fmla="*/ 356 h 510"/>
                <a:gd name="T24" fmla="*/ 323 w 624"/>
                <a:gd name="T25" fmla="*/ 366 h 510"/>
                <a:gd name="T26" fmla="*/ 310 w 624"/>
                <a:gd name="T27" fmla="*/ 380 h 510"/>
                <a:gd name="T28" fmla="*/ 284 w 624"/>
                <a:gd name="T29" fmla="*/ 389 h 510"/>
                <a:gd name="T30" fmla="*/ 260 w 624"/>
                <a:gd name="T31" fmla="*/ 393 h 510"/>
                <a:gd name="T32" fmla="*/ 229 w 624"/>
                <a:gd name="T33" fmla="*/ 395 h 510"/>
                <a:gd name="T34" fmla="*/ 215 w 624"/>
                <a:gd name="T35" fmla="*/ 503 h 510"/>
                <a:gd name="T36" fmla="*/ 164 w 624"/>
                <a:gd name="T37" fmla="*/ 510 h 510"/>
                <a:gd name="T38" fmla="*/ 131 w 624"/>
                <a:gd name="T39" fmla="*/ 493 h 510"/>
                <a:gd name="T40" fmla="*/ 96 w 624"/>
                <a:gd name="T41" fmla="*/ 479 h 510"/>
                <a:gd name="T42" fmla="*/ 64 w 624"/>
                <a:gd name="T43" fmla="*/ 463 h 510"/>
                <a:gd name="T44" fmla="*/ 56 w 624"/>
                <a:gd name="T45" fmla="*/ 428 h 510"/>
                <a:gd name="T46" fmla="*/ 44 w 624"/>
                <a:gd name="T47" fmla="*/ 388 h 510"/>
                <a:gd name="T48" fmla="*/ 56 w 624"/>
                <a:gd name="T49" fmla="*/ 353 h 510"/>
                <a:gd name="T50" fmla="*/ 29 w 624"/>
                <a:gd name="T51" fmla="*/ 321 h 510"/>
                <a:gd name="T52" fmla="*/ 4 w 624"/>
                <a:gd name="T53" fmla="*/ 307 h 510"/>
                <a:gd name="T54" fmla="*/ 42 w 624"/>
                <a:gd name="T55" fmla="*/ 268 h 510"/>
                <a:gd name="T56" fmla="*/ 47 w 624"/>
                <a:gd name="T57" fmla="*/ 237 h 510"/>
                <a:gd name="T58" fmla="*/ 60 w 624"/>
                <a:gd name="T59" fmla="*/ 212 h 510"/>
                <a:gd name="T60" fmla="*/ 80 w 624"/>
                <a:gd name="T61" fmla="*/ 196 h 510"/>
                <a:gd name="T62" fmla="*/ 110 w 624"/>
                <a:gd name="T63" fmla="*/ 152 h 510"/>
                <a:gd name="T64" fmla="*/ 139 w 624"/>
                <a:gd name="T65" fmla="*/ 137 h 510"/>
                <a:gd name="T66" fmla="*/ 170 w 624"/>
                <a:gd name="T67" fmla="*/ 127 h 510"/>
                <a:gd name="T68" fmla="*/ 176 w 624"/>
                <a:gd name="T69" fmla="*/ 104 h 510"/>
                <a:gd name="T70" fmla="*/ 185 w 624"/>
                <a:gd name="T71" fmla="*/ 75 h 510"/>
                <a:gd name="T72" fmla="*/ 211 w 624"/>
                <a:gd name="T73" fmla="*/ 99 h 510"/>
                <a:gd name="T74" fmla="*/ 236 w 624"/>
                <a:gd name="T75" fmla="*/ 108 h 510"/>
                <a:gd name="T76" fmla="*/ 266 w 624"/>
                <a:gd name="T77" fmla="*/ 108 h 510"/>
                <a:gd name="T78" fmla="*/ 291 w 624"/>
                <a:gd name="T79" fmla="*/ 38 h 510"/>
                <a:gd name="T80" fmla="*/ 321 w 624"/>
                <a:gd name="T81" fmla="*/ 75 h 510"/>
                <a:gd name="T82" fmla="*/ 348 w 624"/>
                <a:gd name="T83" fmla="*/ 104 h 510"/>
                <a:gd name="T84" fmla="*/ 376 w 624"/>
                <a:gd name="T85" fmla="*/ 93 h 510"/>
                <a:gd name="T86" fmla="*/ 404 w 624"/>
                <a:gd name="T87" fmla="*/ 97 h 510"/>
                <a:gd name="T88" fmla="*/ 442 w 624"/>
                <a:gd name="T89" fmla="*/ 78 h 510"/>
                <a:gd name="T90" fmla="*/ 474 w 624"/>
                <a:gd name="T91" fmla="*/ 84 h 510"/>
                <a:gd name="T92" fmla="*/ 525 w 624"/>
                <a:gd name="T93" fmla="*/ 47 h 510"/>
                <a:gd name="T94" fmla="*/ 565 w 624"/>
                <a:gd name="T95" fmla="*/ 25 h 510"/>
                <a:gd name="T96" fmla="*/ 605 w 624"/>
                <a:gd name="T97" fmla="*/ 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24" h="510">
                  <a:moveTo>
                    <a:pt x="615" y="0"/>
                  </a:moveTo>
                  <a:lnTo>
                    <a:pt x="624" y="306"/>
                  </a:lnTo>
                  <a:lnTo>
                    <a:pt x="618" y="308"/>
                  </a:lnTo>
                  <a:lnTo>
                    <a:pt x="608" y="303"/>
                  </a:lnTo>
                  <a:lnTo>
                    <a:pt x="602" y="307"/>
                  </a:lnTo>
                  <a:lnTo>
                    <a:pt x="593" y="307"/>
                  </a:lnTo>
                  <a:lnTo>
                    <a:pt x="588" y="302"/>
                  </a:lnTo>
                  <a:lnTo>
                    <a:pt x="584" y="298"/>
                  </a:lnTo>
                  <a:lnTo>
                    <a:pt x="578" y="307"/>
                  </a:lnTo>
                  <a:lnTo>
                    <a:pt x="569" y="311"/>
                  </a:lnTo>
                  <a:lnTo>
                    <a:pt x="561" y="305"/>
                  </a:lnTo>
                  <a:lnTo>
                    <a:pt x="558" y="311"/>
                  </a:lnTo>
                  <a:lnTo>
                    <a:pt x="552" y="308"/>
                  </a:lnTo>
                  <a:lnTo>
                    <a:pt x="544" y="313"/>
                  </a:lnTo>
                  <a:lnTo>
                    <a:pt x="531" y="313"/>
                  </a:lnTo>
                  <a:lnTo>
                    <a:pt x="520" y="313"/>
                  </a:lnTo>
                  <a:lnTo>
                    <a:pt x="513" y="307"/>
                  </a:lnTo>
                  <a:lnTo>
                    <a:pt x="505" y="315"/>
                  </a:lnTo>
                  <a:lnTo>
                    <a:pt x="492" y="316"/>
                  </a:lnTo>
                  <a:lnTo>
                    <a:pt x="477" y="319"/>
                  </a:lnTo>
                  <a:lnTo>
                    <a:pt x="462" y="321"/>
                  </a:lnTo>
                  <a:lnTo>
                    <a:pt x="454" y="312"/>
                  </a:lnTo>
                  <a:lnTo>
                    <a:pt x="445" y="312"/>
                  </a:lnTo>
                  <a:lnTo>
                    <a:pt x="442" y="318"/>
                  </a:lnTo>
                  <a:lnTo>
                    <a:pt x="444" y="329"/>
                  </a:lnTo>
                  <a:lnTo>
                    <a:pt x="433" y="322"/>
                  </a:lnTo>
                  <a:lnTo>
                    <a:pt x="426" y="327"/>
                  </a:lnTo>
                  <a:lnTo>
                    <a:pt x="412" y="327"/>
                  </a:lnTo>
                  <a:lnTo>
                    <a:pt x="402" y="336"/>
                  </a:lnTo>
                  <a:lnTo>
                    <a:pt x="391" y="336"/>
                  </a:lnTo>
                  <a:lnTo>
                    <a:pt x="392" y="342"/>
                  </a:lnTo>
                  <a:lnTo>
                    <a:pt x="380" y="344"/>
                  </a:lnTo>
                  <a:lnTo>
                    <a:pt x="380" y="351"/>
                  </a:lnTo>
                  <a:lnTo>
                    <a:pt x="374" y="356"/>
                  </a:lnTo>
                  <a:lnTo>
                    <a:pt x="363" y="353"/>
                  </a:lnTo>
                  <a:lnTo>
                    <a:pt x="348" y="356"/>
                  </a:lnTo>
                  <a:lnTo>
                    <a:pt x="339" y="355"/>
                  </a:lnTo>
                  <a:lnTo>
                    <a:pt x="331" y="359"/>
                  </a:lnTo>
                  <a:lnTo>
                    <a:pt x="323" y="366"/>
                  </a:lnTo>
                  <a:lnTo>
                    <a:pt x="320" y="374"/>
                  </a:lnTo>
                  <a:lnTo>
                    <a:pt x="317" y="380"/>
                  </a:lnTo>
                  <a:lnTo>
                    <a:pt x="310" y="380"/>
                  </a:lnTo>
                  <a:lnTo>
                    <a:pt x="303" y="382"/>
                  </a:lnTo>
                  <a:lnTo>
                    <a:pt x="298" y="388"/>
                  </a:lnTo>
                  <a:lnTo>
                    <a:pt x="284" y="389"/>
                  </a:lnTo>
                  <a:lnTo>
                    <a:pt x="274" y="391"/>
                  </a:lnTo>
                  <a:lnTo>
                    <a:pt x="266" y="395"/>
                  </a:lnTo>
                  <a:lnTo>
                    <a:pt x="260" y="393"/>
                  </a:lnTo>
                  <a:lnTo>
                    <a:pt x="250" y="395"/>
                  </a:lnTo>
                  <a:lnTo>
                    <a:pt x="242" y="392"/>
                  </a:lnTo>
                  <a:lnTo>
                    <a:pt x="229" y="395"/>
                  </a:lnTo>
                  <a:lnTo>
                    <a:pt x="220" y="391"/>
                  </a:lnTo>
                  <a:lnTo>
                    <a:pt x="215" y="398"/>
                  </a:lnTo>
                  <a:lnTo>
                    <a:pt x="215" y="503"/>
                  </a:lnTo>
                  <a:lnTo>
                    <a:pt x="195" y="504"/>
                  </a:lnTo>
                  <a:lnTo>
                    <a:pt x="179" y="508"/>
                  </a:lnTo>
                  <a:lnTo>
                    <a:pt x="164" y="510"/>
                  </a:lnTo>
                  <a:lnTo>
                    <a:pt x="152" y="505"/>
                  </a:lnTo>
                  <a:lnTo>
                    <a:pt x="142" y="498"/>
                  </a:lnTo>
                  <a:lnTo>
                    <a:pt x="131" y="493"/>
                  </a:lnTo>
                  <a:lnTo>
                    <a:pt x="123" y="485"/>
                  </a:lnTo>
                  <a:lnTo>
                    <a:pt x="110" y="481"/>
                  </a:lnTo>
                  <a:lnTo>
                    <a:pt x="96" y="479"/>
                  </a:lnTo>
                  <a:lnTo>
                    <a:pt x="84" y="481"/>
                  </a:lnTo>
                  <a:lnTo>
                    <a:pt x="75" y="474"/>
                  </a:lnTo>
                  <a:lnTo>
                    <a:pt x="64" y="463"/>
                  </a:lnTo>
                  <a:lnTo>
                    <a:pt x="60" y="454"/>
                  </a:lnTo>
                  <a:lnTo>
                    <a:pt x="54" y="447"/>
                  </a:lnTo>
                  <a:lnTo>
                    <a:pt x="56" y="428"/>
                  </a:lnTo>
                  <a:lnTo>
                    <a:pt x="51" y="414"/>
                  </a:lnTo>
                  <a:lnTo>
                    <a:pt x="44" y="403"/>
                  </a:lnTo>
                  <a:lnTo>
                    <a:pt x="44" y="388"/>
                  </a:lnTo>
                  <a:lnTo>
                    <a:pt x="41" y="376"/>
                  </a:lnTo>
                  <a:lnTo>
                    <a:pt x="48" y="368"/>
                  </a:lnTo>
                  <a:lnTo>
                    <a:pt x="56" y="353"/>
                  </a:lnTo>
                  <a:lnTo>
                    <a:pt x="53" y="338"/>
                  </a:lnTo>
                  <a:lnTo>
                    <a:pt x="44" y="330"/>
                  </a:lnTo>
                  <a:lnTo>
                    <a:pt x="29" y="321"/>
                  </a:lnTo>
                  <a:lnTo>
                    <a:pt x="14" y="316"/>
                  </a:lnTo>
                  <a:lnTo>
                    <a:pt x="0" y="316"/>
                  </a:lnTo>
                  <a:lnTo>
                    <a:pt x="4" y="307"/>
                  </a:lnTo>
                  <a:lnTo>
                    <a:pt x="20" y="290"/>
                  </a:lnTo>
                  <a:lnTo>
                    <a:pt x="31" y="281"/>
                  </a:lnTo>
                  <a:lnTo>
                    <a:pt x="42" y="268"/>
                  </a:lnTo>
                  <a:lnTo>
                    <a:pt x="46" y="259"/>
                  </a:lnTo>
                  <a:lnTo>
                    <a:pt x="46" y="248"/>
                  </a:lnTo>
                  <a:lnTo>
                    <a:pt x="47" y="237"/>
                  </a:lnTo>
                  <a:lnTo>
                    <a:pt x="51" y="225"/>
                  </a:lnTo>
                  <a:lnTo>
                    <a:pt x="58" y="221"/>
                  </a:lnTo>
                  <a:lnTo>
                    <a:pt x="60" y="212"/>
                  </a:lnTo>
                  <a:lnTo>
                    <a:pt x="66" y="205"/>
                  </a:lnTo>
                  <a:lnTo>
                    <a:pt x="72" y="203"/>
                  </a:lnTo>
                  <a:lnTo>
                    <a:pt x="80" y="196"/>
                  </a:lnTo>
                  <a:lnTo>
                    <a:pt x="85" y="188"/>
                  </a:lnTo>
                  <a:lnTo>
                    <a:pt x="94" y="172"/>
                  </a:lnTo>
                  <a:lnTo>
                    <a:pt x="110" y="152"/>
                  </a:lnTo>
                  <a:lnTo>
                    <a:pt x="120" y="151"/>
                  </a:lnTo>
                  <a:lnTo>
                    <a:pt x="132" y="146"/>
                  </a:lnTo>
                  <a:lnTo>
                    <a:pt x="139" y="137"/>
                  </a:lnTo>
                  <a:lnTo>
                    <a:pt x="153" y="137"/>
                  </a:lnTo>
                  <a:lnTo>
                    <a:pt x="164" y="132"/>
                  </a:lnTo>
                  <a:lnTo>
                    <a:pt x="170" y="127"/>
                  </a:lnTo>
                  <a:lnTo>
                    <a:pt x="178" y="122"/>
                  </a:lnTo>
                  <a:lnTo>
                    <a:pt x="183" y="116"/>
                  </a:lnTo>
                  <a:lnTo>
                    <a:pt x="176" y="104"/>
                  </a:lnTo>
                  <a:lnTo>
                    <a:pt x="171" y="93"/>
                  </a:lnTo>
                  <a:lnTo>
                    <a:pt x="177" y="82"/>
                  </a:lnTo>
                  <a:lnTo>
                    <a:pt x="185" y="75"/>
                  </a:lnTo>
                  <a:lnTo>
                    <a:pt x="196" y="76"/>
                  </a:lnTo>
                  <a:lnTo>
                    <a:pt x="207" y="85"/>
                  </a:lnTo>
                  <a:lnTo>
                    <a:pt x="211" y="99"/>
                  </a:lnTo>
                  <a:lnTo>
                    <a:pt x="218" y="111"/>
                  </a:lnTo>
                  <a:lnTo>
                    <a:pt x="227" y="111"/>
                  </a:lnTo>
                  <a:lnTo>
                    <a:pt x="236" y="108"/>
                  </a:lnTo>
                  <a:lnTo>
                    <a:pt x="243" y="101"/>
                  </a:lnTo>
                  <a:lnTo>
                    <a:pt x="254" y="104"/>
                  </a:lnTo>
                  <a:lnTo>
                    <a:pt x="266" y="108"/>
                  </a:lnTo>
                  <a:lnTo>
                    <a:pt x="274" y="115"/>
                  </a:lnTo>
                  <a:lnTo>
                    <a:pt x="284" y="118"/>
                  </a:lnTo>
                  <a:lnTo>
                    <a:pt x="291" y="38"/>
                  </a:lnTo>
                  <a:lnTo>
                    <a:pt x="298" y="50"/>
                  </a:lnTo>
                  <a:lnTo>
                    <a:pt x="308" y="61"/>
                  </a:lnTo>
                  <a:lnTo>
                    <a:pt x="321" y="75"/>
                  </a:lnTo>
                  <a:lnTo>
                    <a:pt x="334" y="86"/>
                  </a:lnTo>
                  <a:lnTo>
                    <a:pt x="340" y="95"/>
                  </a:lnTo>
                  <a:lnTo>
                    <a:pt x="348" y="104"/>
                  </a:lnTo>
                  <a:lnTo>
                    <a:pt x="357" y="98"/>
                  </a:lnTo>
                  <a:lnTo>
                    <a:pt x="367" y="101"/>
                  </a:lnTo>
                  <a:lnTo>
                    <a:pt x="376" y="93"/>
                  </a:lnTo>
                  <a:lnTo>
                    <a:pt x="387" y="97"/>
                  </a:lnTo>
                  <a:lnTo>
                    <a:pt x="395" y="93"/>
                  </a:lnTo>
                  <a:lnTo>
                    <a:pt x="404" y="97"/>
                  </a:lnTo>
                  <a:lnTo>
                    <a:pt x="417" y="85"/>
                  </a:lnTo>
                  <a:lnTo>
                    <a:pt x="428" y="79"/>
                  </a:lnTo>
                  <a:lnTo>
                    <a:pt x="442" y="78"/>
                  </a:lnTo>
                  <a:lnTo>
                    <a:pt x="454" y="84"/>
                  </a:lnTo>
                  <a:lnTo>
                    <a:pt x="463" y="87"/>
                  </a:lnTo>
                  <a:lnTo>
                    <a:pt x="474" y="84"/>
                  </a:lnTo>
                  <a:lnTo>
                    <a:pt x="498" y="55"/>
                  </a:lnTo>
                  <a:lnTo>
                    <a:pt x="513" y="50"/>
                  </a:lnTo>
                  <a:lnTo>
                    <a:pt x="525" y="47"/>
                  </a:lnTo>
                  <a:lnTo>
                    <a:pt x="529" y="37"/>
                  </a:lnTo>
                  <a:lnTo>
                    <a:pt x="552" y="32"/>
                  </a:lnTo>
                  <a:lnTo>
                    <a:pt x="565" y="25"/>
                  </a:lnTo>
                  <a:lnTo>
                    <a:pt x="583" y="15"/>
                  </a:lnTo>
                  <a:lnTo>
                    <a:pt x="599" y="12"/>
                  </a:lnTo>
                  <a:lnTo>
                    <a:pt x="605" y="4"/>
                  </a:lnTo>
                  <a:lnTo>
                    <a:pt x="617" y="0"/>
                  </a:lnTo>
                  <a:lnTo>
                    <a:pt x="615" y="0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61" name="Freeform 57">
              <a:extLst>
                <a:ext uri="{FF2B5EF4-FFF2-40B4-BE49-F238E27FC236}">
                  <a16:creationId xmlns:a16="http://schemas.microsoft.com/office/drawing/2014/main" id="{0AA4EE45-167D-4B56-AE3A-6B4835321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" y="1952"/>
              <a:ext cx="624" cy="510"/>
            </a:xfrm>
            <a:custGeom>
              <a:avLst/>
              <a:gdLst>
                <a:gd name="T0" fmla="*/ 618 w 624"/>
                <a:gd name="T1" fmla="*/ 308 h 510"/>
                <a:gd name="T2" fmla="*/ 593 w 624"/>
                <a:gd name="T3" fmla="*/ 307 h 510"/>
                <a:gd name="T4" fmla="*/ 578 w 624"/>
                <a:gd name="T5" fmla="*/ 307 h 510"/>
                <a:gd name="T6" fmla="*/ 558 w 624"/>
                <a:gd name="T7" fmla="*/ 311 h 510"/>
                <a:gd name="T8" fmla="*/ 531 w 624"/>
                <a:gd name="T9" fmla="*/ 313 h 510"/>
                <a:gd name="T10" fmla="*/ 505 w 624"/>
                <a:gd name="T11" fmla="*/ 315 h 510"/>
                <a:gd name="T12" fmla="*/ 462 w 624"/>
                <a:gd name="T13" fmla="*/ 321 h 510"/>
                <a:gd name="T14" fmla="*/ 442 w 624"/>
                <a:gd name="T15" fmla="*/ 318 h 510"/>
                <a:gd name="T16" fmla="*/ 426 w 624"/>
                <a:gd name="T17" fmla="*/ 327 h 510"/>
                <a:gd name="T18" fmla="*/ 391 w 624"/>
                <a:gd name="T19" fmla="*/ 336 h 510"/>
                <a:gd name="T20" fmla="*/ 380 w 624"/>
                <a:gd name="T21" fmla="*/ 351 h 510"/>
                <a:gd name="T22" fmla="*/ 348 w 624"/>
                <a:gd name="T23" fmla="*/ 356 h 510"/>
                <a:gd name="T24" fmla="*/ 323 w 624"/>
                <a:gd name="T25" fmla="*/ 366 h 510"/>
                <a:gd name="T26" fmla="*/ 310 w 624"/>
                <a:gd name="T27" fmla="*/ 380 h 510"/>
                <a:gd name="T28" fmla="*/ 284 w 624"/>
                <a:gd name="T29" fmla="*/ 389 h 510"/>
                <a:gd name="T30" fmla="*/ 260 w 624"/>
                <a:gd name="T31" fmla="*/ 393 h 510"/>
                <a:gd name="T32" fmla="*/ 229 w 624"/>
                <a:gd name="T33" fmla="*/ 395 h 510"/>
                <a:gd name="T34" fmla="*/ 215 w 624"/>
                <a:gd name="T35" fmla="*/ 503 h 510"/>
                <a:gd name="T36" fmla="*/ 164 w 624"/>
                <a:gd name="T37" fmla="*/ 510 h 510"/>
                <a:gd name="T38" fmla="*/ 131 w 624"/>
                <a:gd name="T39" fmla="*/ 493 h 510"/>
                <a:gd name="T40" fmla="*/ 96 w 624"/>
                <a:gd name="T41" fmla="*/ 479 h 510"/>
                <a:gd name="T42" fmla="*/ 64 w 624"/>
                <a:gd name="T43" fmla="*/ 463 h 510"/>
                <a:gd name="T44" fmla="*/ 56 w 624"/>
                <a:gd name="T45" fmla="*/ 428 h 510"/>
                <a:gd name="T46" fmla="*/ 44 w 624"/>
                <a:gd name="T47" fmla="*/ 388 h 510"/>
                <a:gd name="T48" fmla="*/ 56 w 624"/>
                <a:gd name="T49" fmla="*/ 353 h 510"/>
                <a:gd name="T50" fmla="*/ 29 w 624"/>
                <a:gd name="T51" fmla="*/ 321 h 510"/>
                <a:gd name="T52" fmla="*/ 4 w 624"/>
                <a:gd name="T53" fmla="*/ 307 h 510"/>
                <a:gd name="T54" fmla="*/ 42 w 624"/>
                <a:gd name="T55" fmla="*/ 268 h 510"/>
                <a:gd name="T56" fmla="*/ 47 w 624"/>
                <a:gd name="T57" fmla="*/ 237 h 510"/>
                <a:gd name="T58" fmla="*/ 60 w 624"/>
                <a:gd name="T59" fmla="*/ 212 h 510"/>
                <a:gd name="T60" fmla="*/ 80 w 624"/>
                <a:gd name="T61" fmla="*/ 196 h 510"/>
                <a:gd name="T62" fmla="*/ 110 w 624"/>
                <a:gd name="T63" fmla="*/ 152 h 510"/>
                <a:gd name="T64" fmla="*/ 139 w 624"/>
                <a:gd name="T65" fmla="*/ 137 h 510"/>
                <a:gd name="T66" fmla="*/ 170 w 624"/>
                <a:gd name="T67" fmla="*/ 127 h 510"/>
                <a:gd name="T68" fmla="*/ 176 w 624"/>
                <a:gd name="T69" fmla="*/ 104 h 510"/>
                <a:gd name="T70" fmla="*/ 185 w 624"/>
                <a:gd name="T71" fmla="*/ 75 h 510"/>
                <a:gd name="T72" fmla="*/ 211 w 624"/>
                <a:gd name="T73" fmla="*/ 99 h 510"/>
                <a:gd name="T74" fmla="*/ 236 w 624"/>
                <a:gd name="T75" fmla="*/ 108 h 510"/>
                <a:gd name="T76" fmla="*/ 266 w 624"/>
                <a:gd name="T77" fmla="*/ 108 h 510"/>
                <a:gd name="T78" fmla="*/ 291 w 624"/>
                <a:gd name="T79" fmla="*/ 38 h 510"/>
                <a:gd name="T80" fmla="*/ 321 w 624"/>
                <a:gd name="T81" fmla="*/ 75 h 510"/>
                <a:gd name="T82" fmla="*/ 348 w 624"/>
                <a:gd name="T83" fmla="*/ 104 h 510"/>
                <a:gd name="T84" fmla="*/ 376 w 624"/>
                <a:gd name="T85" fmla="*/ 93 h 510"/>
                <a:gd name="T86" fmla="*/ 404 w 624"/>
                <a:gd name="T87" fmla="*/ 97 h 510"/>
                <a:gd name="T88" fmla="*/ 442 w 624"/>
                <a:gd name="T89" fmla="*/ 78 h 510"/>
                <a:gd name="T90" fmla="*/ 474 w 624"/>
                <a:gd name="T91" fmla="*/ 84 h 510"/>
                <a:gd name="T92" fmla="*/ 525 w 624"/>
                <a:gd name="T93" fmla="*/ 47 h 510"/>
                <a:gd name="T94" fmla="*/ 565 w 624"/>
                <a:gd name="T95" fmla="*/ 25 h 510"/>
                <a:gd name="T96" fmla="*/ 605 w 624"/>
                <a:gd name="T97" fmla="*/ 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24" h="510">
                  <a:moveTo>
                    <a:pt x="615" y="0"/>
                  </a:moveTo>
                  <a:lnTo>
                    <a:pt x="624" y="306"/>
                  </a:lnTo>
                  <a:lnTo>
                    <a:pt x="618" y="308"/>
                  </a:lnTo>
                  <a:lnTo>
                    <a:pt x="608" y="303"/>
                  </a:lnTo>
                  <a:lnTo>
                    <a:pt x="602" y="307"/>
                  </a:lnTo>
                  <a:lnTo>
                    <a:pt x="593" y="307"/>
                  </a:lnTo>
                  <a:lnTo>
                    <a:pt x="588" y="302"/>
                  </a:lnTo>
                  <a:lnTo>
                    <a:pt x="584" y="298"/>
                  </a:lnTo>
                  <a:lnTo>
                    <a:pt x="578" y="307"/>
                  </a:lnTo>
                  <a:lnTo>
                    <a:pt x="569" y="311"/>
                  </a:lnTo>
                  <a:lnTo>
                    <a:pt x="561" y="305"/>
                  </a:lnTo>
                  <a:lnTo>
                    <a:pt x="558" y="311"/>
                  </a:lnTo>
                  <a:lnTo>
                    <a:pt x="552" y="308"/>
                  </a:lnTo>
                  <a:lnTo>
                    <a:pt x="544" y="313"/>
                  </a:lnTo>
                  <a:lnTo>
                    <a:pt x="531" y="313"/>
                  </a:lnTo>
                  <a:lnTo>
                    <a:pt x="520" y="313"/>
                  </a:lnTo>
                  <a:lnTo>
                    <a:pt x="513" y="307"/>
                  </a:lnTo>
                  <a:lnTo>
                    <a:pt x="505" y="315"/>
                  </a:lnTo>
                  <a:lnTo>
                    <a:pt x="492" y="316"/>
                  </a:lnTo>
                  <a:lnTo>
                    <a:pt x="477" y="319"/>
                  </a:lnTo>
                  <a:lnTo>
                    <a:pt x="462" y="321"/>
                  </a:lnTo>
                  <a:lnTo>
                    <a:pt x="454" y="312"/>
                  </a:lnTo>
                  <a:lnTo>
                    <a:pt x="445" y="312"/>
                  </a:lnTo>
                  <a:lnTo>
                    <a:pt x="442" y="318"/>
                  </a:lnTo>
                  <a:lnTo>
                    <a:pt x="444" y="329"/>
                  </a:lnTo>
                  <a:lnTo>
                    <a:pt x="433" y="322"/>
                  </a:lnTo>
                  <a:lnTo>
                    <a:pt x="426" y="327"/>
                  </a:lnTo>
                  <a:lnTo>
                    <a:pt x="412" y="327"/>
                  </a:lnTo>
                  <a:lnTo>
                    <a:pt x="402" y="336"/>
                  </a:lnTo>
                  <a:lnTo>
                    <a:pt x="391" y="336"/>
                  </a:lnTo>
                  <a:lnTo>
                    <a:pt x="392" y="342"/>
                  </a:lnTo>
                  <a:lnTo>
                    <a:pt x="380" y="344"/>
                  </a:lnTo>
                  <a:lnTo>
                    <a:pt x="380" y="351"/>
                  </a:lnTo>
                  <a:lnTo>
                    <a:pt x="374" y="356"/>
                  </a:lnTo>
                  <a:lnTo>
                    <a:pt x="363" y="353"/>
                  </a:lnTo>
                  <a:lnTo>
                    <a:pt x="348" y="356"/>
                  </a:lnTo>
                  <a:lnTo>
                    <a:pt x="339" y="355"/>
                  </a:lnTo>
                  <a:lnTo>
                    <a:pt x="331" y="359"/>
                  </a:lnTo>
                  <a:lnTo>
                    <a:pt x="323" y="366"/>
                  </a:lnTo>
                  <a:lnTo>
                    <a:pt x="320" y="374"/>
                  </a:lnTo>
                  <a:lnTo>
                    <a:pt x="317" y="380"/>
                  </a:lnTo>
                  <a:lnTo>
                    <a:pt x="310" y="380"/>
                  </a:lnTo>
                  <a:lnTo>
                    <a:pt x="303" y="382"/>
                  </a:lnTo>
                  <a:lnTo>
                    <a:pt x="298" y="388"/>
                  </a:lnTo>
                  <a:lnTo>
                    <a:pt x="284" y="389"/>
                  </a:lnTo>
                  <a:lnTo>
                    <a:pt x="274" y="391"/>
                  </a:lnTo>
                  <a:lnTo>
                    <a:pt x="266" y="395"/>
                  </a:lnTo>
                  <a:lnTo>
                    <a:pt x="260" y="393"/>
                  </a:lnTo>
                  <a:lnTo>
                    <a:pt x="250" y="395"/>
                  </a:lnTo>
                  <a:lnTo>
                    <a:pt x="242" y="392"/>
                  </a:lnTo>
                  <a:lnTo>
                    <a:pt x="229" y="395"/>
                  </a:lnTo>
                  <a:lnTo>
                    <a:pt x="220" y="391"/>
                  </a:lnTo>
                  <a:lnTo>
                    <a:pt x="215" y="398"/>
                  </a:lnTo>
                  <a:lnTo>
                    <a:pt x="215" y="503"/>
                  </a:lnTo>
                  <a:lnTo>
                    <a:pt x="195" y="504"/>
                  </a:lnTo>
                  <a:lnTo>
                    <a:pt x="179" y="508"/>
                  </a:lnTo>
                  <a:lnTo>
                    <a:pt x="164" y="510"/>
                  </a:lnTo>
                  <a:lnTo>
                    <a:pt x="152" y="505"/>
                  </a:lnTo>
                  <a:lnTo>
                    <a:pt x="142" y="498"/>
                  </a:lnTo>
                  <a:lnTo>
                    <a:pt x="131" y="493"/>
                  </a:lnTo>
                  <a:lnTo>
                    <a:pt x="123" y="485"/>
                  </a:lnTo>
                  <a:lnTo>
                    <a:pt x="110" y="481"/>
                  </a:lnTo>
                  <a:lnTo>
                    <a:pt x="96" y="479"/>
                  </a:lnTo>
                  <a:lnTo>
                    <a:pt x="84" y="481"/>
                  </a:lnTo>
                  <a:lnTo>
                    <a:pt x="75" y="474"/>
                  </a:lnTo>
                  <a:lnTo>
                    <a:pt x="64" y="463"/>
                  </a:lnTo>
                  <a:lnTo>
                    <a:pt x="60" y="454"/>
                  </a:lnTo>
                  <a:lnTo>
                    <a:pt x="54" y="447"/>
                  </a:lnTo>
                  <a:lnTo>
                    <a:pt x="56" y="428"/>
                  </a:lnTo>
                  <a:lnTo>
                    <a:pt x="51" y="414"/>
                  </a:lnTo>
                  <a:lnTo>
                    <a:pt x="44" y="403"/>
                  </a:lnTo>
                  <a:lnTo>
                    <a:pt x="44" y="388"/>
                  </a:lnTo>
                  <a:lnTo>
                    <a:pt x="41" y="376"/>
                  </a:lnTo>
                  <a:lnTo>
                    <a:pt x="48" y="368"/>
                  </a:lnTo>
                  <a:lnTo>
                    <a:pt x="56" y="353"/>
                  </a:lnTo>
                  <a:lnTo>
                    <a:pt x="53" y="338"/>
                  </a:lnTo>
                  <a:lnTo>
                    <a:pt x="44" y="330"/>
                  </a:lnTo>
                  <a:lnTo>
                    <a:pt x="29" y="321"/>
                  </a:lnTo>
                  <a:lnTo>
                    <a:pt x="14" y="316"/>
                  </a:lnTo>
                  <a:lnTo>
                    <a:pt x="0" y="316"/>
                  </a:lnTo>
                  <a:lnTo>
                    <a:pt x="4" y="307"/>
                  </a:lnTo>
                  <a:lnTo>
                    <a:pt x="20" y="290"/>
                  </a:lnTo>
                  <a:lnTo>
                    <a:pt x="31" y="281"/>
                  </a:lnTo>
                  <a:lnTo>
                    <a:pt x="42" y="268"/>
                  </a:lnTo>
                  <a:lnTo>
                    <a:pt x="46" y="259"/>
                  </a:lnTo>
                  <a:lnTo>
                    <a:pt x="46" y="248"/>
                  </a:lnTo>
                  <a:lnTo>
                    <a:pt x="47" y="237"/>
                  </a:lnTo>
                  <a:lnTo>
                    <a:pt x="51" y="225"/>
                  </a:lnTo>
                  <a:lnTo>
                    <a:pt x="58" y="221"/>
                  </a:lnTo>
                  <a:lnTo>
                    <a:pt x="60" y="212"/>
                  </a:lnTo>
                  <a:lnTo>
                    <a:pt x="66" y="205"/>
                  </a:lnTo>
                  <a:lnTo>
                    <a:pt x="72" y="203"/>
                  </a:lnTo>
                  <a:lnTo>
                    <a:pt x="80" y="196"/>
                  </a:lnTo>
                  <a:lnTo>
                    <a:pt x="85" y="188"/>
                  </a:lnTo>
                  <a:lnTo>
                    <a:pt x="94" y="172"/>
                  </a:lnTo>
                  <a:lnTo>
                    <a:pt x="110" y="152"/>
                  </a:lnTo>
                  <a:lnTo>
                    <a:pt x="120" y="151"/>
                  </a:lnTo>
                  <a:lnTo>
                    <a:pt x="132" y="146"/>
                  </a:lnTo>
                  <a:lnTo>
                    <a:pt x="139" y="137"/>
                  </a:lnTo>
                  <a:lnTo>
                    <a:pt x="153" y="137"/>
                  </a:lnTo>
                  <a:lnTo>
                    <a:pt x="164" y="132"/>
                  </a:lnTo>
                  <a:lnTo>
                    <a:pt x="170" y="127"/>
                  </a:lnTo>
                  <a:lnTo>
                    <a:pt x="178" y="122"/>
                  </a:lnTo>
                  <a:lnTo>
                    <a:pt x="183" y="116"/>
                  </a:lnTo>
                  <a:lnTo>
                    <a:pt x="176" y="104"/>
                  </a:lnTo>
                  <a:lnTo>
                    <a:pt x="171" y="93"/>
                  </a:lnTo>
                  <a:lnTo>
                    <a:pt x="177" y="82"/>
                  </a:lnTo>
                  <a:lnTo>
                    <a:pt x="185" y="75"/>
                  </a:lnTo>
                  <a:lnTo>
                    <a:pt x="196" y="76"/>
                  </a:lnTo>
                  <a:lnTo>
                    <a:pt x="207" y="85"/>
                  </a:lnTo>
                  <a:lnTo>
                    <a:pt x="211" y="99"/>
                  </a:lnTo>
                  <a:lnTo>
                    <a:pt x="218" y="111"/>
                  </a:lnTo>
                  <a:lnTo>
                    <a:pt x="227" y="111"/>
                  </a:lnTo>
                  <a:lnTo>
                    <a:pt x="236" y="108"/>
                  </a:lnTo>
                  <a:lnTo>
                    <a:pt x="243" y="101"/>
                  </a:lnTo>
                  <a:lnTo>
                    <a:pt x="254" y="104"/>
                  </a:lnTo>
                  <a:lnTo>
                    <a:pt x="266" y="108"/>
                  </a:lnTo>
                  <a:lnTo>
                    <a:pt x="274" y="115"/>
                  </a:lnTo>
                  <a:lnTo>
                    <a:pt x="284" y="118"/>
                  </a:lnTo>
                  <a:lnTo>
                    <a:pt x="291" y="38"/>
                  </a:lnTo>
                  <a:lnTo>
                    <a:pt x="298" y="50"/>
                  </a:lnTo>
                  <a:lnTo>
                    <a:pt x="308" y="61"/>
                  </a:lnTo>
                  <a:lnTo>
                    <a:pt x="321" y="75"/>
                  </a:lnTo>
                  <a:lnTo>
                    <a:pt x="334" y="86"/>
                  </a:lnTo>
                  <a:lnTo>
                    <a:pt x="340" y="95"/>
                  </a:lnTo>
                  <a:lnTo>
                    <a:pt x="348" y="104"/>
                  </a:lnTo>
                  <a:lnTo>
                    <a:pt x="357" y="98"/>
                  </a:lnTo>
                  <a:lnTo>
                    <a:pt x="367" y="101"/>
                  </a:lnTo>
                  <a:lnTo>
                    <a:pt x="376" y="93"/>
                  </a:lnTo>
                  <a:lnTo>
                    <a:pt x="387" y="97"/>
                  </a:lnTo>
                  <a:lnTo>
                    <a:pt x="395" y="93"/>
                  </a:lnTo>
                  <a:lnTo>
                    <a:pt x="404" y="97"/>
                  </a:lnTo>
                  <a:lnTo>
                    <a:pt x="417" y="85"/>
                  </a:lnTo>
                  <a:lnTo>
                    <a:pt x="428" y="79"/>
                  </a:lnTo>
                  <a:lnTo>
                    <a:pt x="442" y="78"/>
                  </a:lnTo>
                  <a:lnTo>
                    <a:pt x="454" y="84"/>
                  </a:lnTo>
                  <a:lnTo>
                    <a:pt x="463" y="87"/>
                  </a:lnTo>
                  <a:lnTo>
                    <a:pt x="474" y="84"/>
                  </a:lnTo>
                  <a:lnTo>
                    <a:pt x="498" y="55"/>
                  </a:lnTo>
                  <a:lnTo>
                    <a:pt x="513" y="50"/>
                  </a:lnTo>
                  <a:lnTo>
                    <a:pt x="525" y="47"/>
                  </a:lnTo>
                  <a:lnTo>
                    <a:pt x="529" y="37"/>
                  </a:lnTo>
                  <a:lnTo>
                    <a:pt x="552" y="32"/>
                  </a:lnTo>
                  <a:lnTo>
                    <a:pt x="565" y="25"/>
                  </a:lnTo>
                  <a:lnTo>
                    <a:pt x="583" y="15"/>
                  </a:lnTo>
                  <a:lnTo>
                    <a:pt x="599" y="12"/>
                  </a:lnTo>
                  <a:lnTo>
                    <a:pt x="605" y="4"/>
                  </a:lnTo>
                  <a:lnTo>
                    <a:pt x="617" y="0"/>
                  </a:lnTo>
                  <a:lnTo>
                    <a:pt x="615" y="0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62" name="Freeform 58">
              <a:extLst>
                <a:ext uri="{FF2B5EF4-FFF2-40B4-BE49-F238E27FC236}">
                  <a16:creationId xmlns:a16="http://schemas.microsoft.com/office/drawing/2014/main" id="{CC9A6D2F-553A-42B1-86E3-AD4143C07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130"/>
              <a:ext cx="332" cy="352"/>
            </a:xfrm>
            <a:custGeom>
              <a:avLst/>
              <a:gdLst>
                <a:gd name="T0" fmla="*/ 270 w 332"/>
                <a:gd name="T1" fmla="*/ 126 h 352"/>
                <a:gd name="T2" fmla="*/ 298 w 332"/>
                <a:gd name="T3" fmla="*/ 100 h 352"/>
                <a:gd name="T4" fmla="*/ 312 w 332"/>
                <a:gd name="T5" fmla="*/ 78 h 352"/>
                <a:gd name="T6" fmla="*/ 313 w 332"/>
                <a:gd name="T7" fmla="*/ 55 h 352"/>
                <a:gd name="T8" fmla="*/ 324 w 332"/>
                <a:gd name="T9" fmla="*/ 39 h 352"/>
                <a:gd name="T10" fmla="*/ 332 w 332"/>
                <a:gd name="T11" fmla="*/ 23 h 352"/>
                <a:gd name="T12" fmla="*/ 329 w 332"/>
                <a:gd name="T13" fmla="*/ 5 h 352"/>
                <a:gd name="T14" fmla="*/ 319 w 332"/>
                <a:gd name="T15" fmla="*/ 9 h 352"/>
                <a:gd name="T16" fmla="*/ 301 w 332"/>
                <a:gd name="T17" fmla="*/ 25 h 352"/>
                <a:gd name="T18" fmla="*/ 292 w 332"/>
                <a:gd name="T19" fmla="*/ 41 h 352"/>
                <a:gd name="T20" fmla="*/ 288 w 332"/>
                <a:gd name="T21" fmla="*/ 55 h 352"/>
                <a:gd name="T22" fmla="*/ 276 w 332"/>
                <a:gd name="T23" fmla="*/ 73 h 352"/>
                <a:gd name="T24" fmla="*/ 262 w 332"/>
                <a:gd name="T25" fmla="*/ 85 h 352"/>
                <a:gd name="T26" fmla="*/ 238 w 332"/>
                <a:gd name="T27" fmla="*/ 80 h 352"/>
                <a:gd name="T28" fmla="*/ 249 w 332"/>
                <a:gd name="T29" fmla="*/ 68 h 352"/>
                <a:gd name="T30" fmla="*/ 231 w 332"/>
                <a:gd name="T31" fmla="*/ 62 h 352"/>
                <a:gd name="T32" fmla="*/ 212 w 332"/>
                <a:gd name="T33" fmla="*/ 74 h 352"/>
                <a:gd name="T34" fmla="*/ 192 w 332"/>
                <a:gd name="T35" fmla="*/ 67 h 352"/>
                <a:gd name="T36" fmla="*/ 176 w 332"/>
                <a:gd name="T37" fmla="*/ 80 h 352"/>
                <a:gd name="T38" fmla="*/ 158 w 332"/>
                <a:gd name="T39" fmla="*/ 93 h 352"/>
                <a:gd name="T40" fmla="*/ 158 w 332"/>
                <a:gd name="T41" fmla="*/ 108 h 352"/>
                <a:gd name="T42" fmla="*/ 136 w 332"/>
                <a:gd name="T43" fmla="*/ 114 h 352"/>
                <a:gd name="T44" fmla="*/ 122 w 332"/>
                <a:gd name="T45" fmla="*/ 121 h 352"/>
                <a:gd name="T46" fmla="*/ 111 w 332"/>
                <a:gd name="T47" fmla="*/ 133 h 352"/>
                <a:gd name="T48" fmla="*/ 93 w 332"/>
                <a:gd name="T49" fmla="*/ 140 h 352"/>
                <a:gd name="T50" fmla="*/ 101 w 332"/>
                <a:gd name="T51" fmla="*/ 168 h 352"/>
                <a:gd name="T52" fmla="*/ 113 w 332"/>
                <a:gd name="T53" fmla="*/ 186 h 352"/>
                <a:gd name="T54" fmla="*/ 121 w 332"/>
                <a:gd name="T55" fmla="*/ 203 h 352"/>
                <a:gd name="T56" fmla="*/ 113 w 332"/>
                <a:gd name="T57" fmla="*/ 211 h 352"/>
                <a:gd name="T58" fmla="*/ 97 w 332"/>
                <a:gd name="T59" fmla="*/ 208 h 352"/>
                <a:gd name="T60" fmla="*/ 86 w 332"/>
                <a:gd name="T61" fmla="*/ 216 h 352"/>
                <a:gd name="T62" fmla="*/ 71 w 332"/>
                <a:gd name="T63" fmla="*/ 224 h 352"/>
                <a:gd name="T64" fmla="*/ 49 w 332"/>
                <a:gd name="T65" fmla="*/ 220 h 352"/>
                <a:gd name="T66" fmla="*/ 41 w 332"/>
                <a:gd name="T67" fmla="*/ 234 h 352"/>
                <a:gd name="T68" fmla="*/ 41 w 332"/>
                <a:gd name="T69" fmla="*/ 249 h 352"/>
                <a:gd name="T70" fmla="*/ 41 w 332"/>
                <a:gd name="T71" fmla="*/ 266 h 352"/>
                <a:gd name="T72" fmla="*/ 23 w 332"/>
                <a:gd name="T73" fmla="*/ 264 h 352"/>
                <a:gd name="T74" fmla="*/ 1 w 332"/>
                <a:gd name="T75" fmla="*/ 263 h 352"/>
                <a:gd name="T76" fmla="*/ 3 w 332"/>
                <a:gd name="T77" fmla="*/ 283 h 352"/>
                <a:gd name="T78" fmla="*/ 5 w 332"/>
                <a:gd name="T79" fmla="*/ 299 h 352"/>
                <a:gd name="T80" fmla="*/ 24 w 332"/>
                <a:gd name="T81" fmla="*/ 306 h 352"/>
                <a:gd name="T82" fmla="*/ 30 w 332"/>
                <a:gd name="T83" fmla="*/ 329 h 352"/>
                <a:gd name="T84" fmla="*/ 45 w 332"/>
                <a:gd name="T85" fmla="*/ 340 h 352"/>
                <a:gd name="T86" fmla="*/ 60 w 332"/>
                <a:gd name="T87" fmla="*/ 346 h 352"/>
                <a:gd name="T88" fmla="*/ 76 w 332"/>
                <a:gd name="T89" fmla="*/ 350 h 352"/>
                <a:gd name="T90" fmla="*/ 92 w 332"/>
                <a:gd name="T91" fmla="*/ 352 h 352"/>
                <a:gd name="T92" fmla="*/ 113 w 332"/>
                <a:gd name="T93" fmla="*/ 338 h 352"/>
                <a:gd name="T94" fmla="*/ 130 w 332"/>
                <a:gd name="T95" fmla="*/ 321 h 352"/>
                <a:gd name="T96" fmla="*/ 140 w 332"/>
                <a:gd name="T97" fmla="*/ 303 h 352"/>
                <a:gd name="T98" fmla="*/ 154 w 332"/>
                <a:gd name="T99" fmla="*/ 286 h 352"/>
                <a:gd name="T100" fmla="*/ 172 w 332"/>
                <a:gd name="T101" fmla="*/ 268 h 352"/>
                <a:gd name="T102" fmla="*/ 187 w 332"/>
                <a:gd name="T103" fmla="*/ 250 h 352"/>
                <a:gd name="T104" fmla="*/ 199 w 332"/>
                <a:gd name="T105" fmla="*/ 235 h 352"/>
                <a:gd name="T106" fmla="*/ 213 w 332"/>
                <a:gd name="T107" fmla="*/ 213 h 352"/>
                <a:gd name="T108" fmla="*/ 219 w 332"/>
                <a:gd name="T109" fmla="*/ 195 h 352"/>
                <a:gd name="T110" fmla="*/ 233 w 332"/>
                <a:gd name="T111" fmla="*/ 199 h 352"/>
                <a:gd name="T112" fmla="*/ 256 w 332"/>
                <a:gd name="T113" fmla="*/ 182 h 352"/>
                <a:gd name="T114" fmla="*/ 253 w 332"/>
                <a:gd name="T115" fmla="*/ 169 h 352"/>
                <a:gd name="T116" fmla="*/ 250 w 332"/>
                <a:gd name="T117" fmla="*/ 155 h 352"/>
                <a:gd name="T118" fmla="*/ 267 w 332"/>
                <a:gd name="T119" fmla="*/ 13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2" h="352">
                  <a:moveTo>
                    <a:pt x="267" y="136"/>
                  </a:moveTo>
                  <a:lnTo>
                    <a:pt x="270" y="126"/>
                  </a:lnTo>
                  <a:lnTo>
                    <a:pt x="287" y="109"/>
                  </a:lnTo>
                  <a:lnTo>
                    <a:pt x="298" y="100"/>
                  </a:lnTo>
                  <a:lnTo>
                    <a:pt x="309" y="86"/>
                  </a:lnTo>
                  <a:lnTo>
                    <a:pt x="312" y="78"/>
                  </a:lnTo>
                  <a:lnTo>
                    <a:pt x="312" y="67"/>
                  </a:lnTo>
                  <a:lnTo>
                    <a:pt x="313" y="55"/>
                  </a:lnTo>
                  <a:lnTo>
                    <a:pt x="317" y="43"/>
                  </a:lnTo>
                  <a:lnTo>
                    <a:pt x="324" y="39"/>
                  </a:lnTo>
                  <a:lnTo>
                    <a:pt x="326" y="31"/>
                  </a:lnTo>
                  <a:lnTo>
                    <a:pt x="332" y="23"/>
                  </a:lnTo>
                  <a:lnTo>
                    <a:pt x="331" y="16"/>
                  </a:lnTo>
                  <a:lnTo>
                    <a:pt x="329" y="5"/>
                  </a:lnTo>
                  <a:lnTo>
                    <a:pt x="321" y="0"/>
                  </a:lnTo>
                  <a:lnTo>
                    <a:pt x="319" y="9"/>
                  </a:lnTo>
                  <a:lnTo>
                    <a:pt x="310" y="18"/>
                  </a:lnTo>
                  <a:lnTo>
                    <a:pt x="301" y="25"/>
                  </a:lnTo>
                  <a:lnTo>
                    <a:pt x="294" y="31"/>
                  </a:lnTo>
                  <a:lnTo>
                    <a:pt x="292" y="41"/>
                  </a:lnTo>
                  <a:lnTo>
                    <a:pt x="288" y="46"/>
                  </a:lnTo>
                  <a:lnTo>
                    <a:pt x="288" y="55"/>
                  </a:lnTo>
                  <a:lnTo>
                    <a:pt x="282" y="63"/>
                  </a:lnTo>
                  <a:lnTo>
                    <a:pt x="276" y="73"/>
                  </a:lnTo>
                  <a:lnTo>
                    <a:pt x="271" y="80"/>
                  </a:lnTo>
                  <a:lnTo>
                    <a:pt x="262" y="85"/>
                  </a:lnTo>
                  <a:lnTo>
                    <a:pt x="246" y="85"/>
                  </a:lnTo>
                  <a:lnTo>
                    <a:pt x="238" y="80"/>
                  </a:lnTo>
                  <a:lnTo>
                    <a:pt x="242" y="73"/>
                  </a:lnTo>
                  <a:lnTo>
                    <a:pt x="249" y="68"/>
                  </a:lnTo>
                  <a:lnTo>
                    <a:pt x="242" y="61"/>
                  </a:lnTo>
                  <a:lnTo>
                    <a:pt x="231" y="62"/>
                  </a:lnTo>
                  <a:lnTo>
                    <a:pt x="219" y="67"/>
                  </a:lnTo>
                  <a:lnTo>
                    <a:pt x="212" y="74"/>
                  </a:lnTo>
                  <a:lnTo>
                    <a:pt x="206" y="68"/>
                  </a:lnTo>
                  <a:lnTo>
                    <a:pt x="192" y="67"/>
                  </a:lnTo>
                  <a:lnTo>
                    <a:pt x="185" y="72"/>
                  </a:lnTo>
                  <a:lnTo>
                    <a:pt x="176" y="80"/>
                  </a:lnTo>
                  <a:lnTo>
                    <a:pt x="166" y="86"/>
                  </a:lnTo>
                  <a:lnTo>
                    <a:pt x="158" y="93"/>
                  </a:lnTo>
                  <a:lnTo>
                    <a:pt x="160" y="102"/>
                  </a:lnTo>
                  <a:lnTo>
                    <a:pt x="158" y="108"/>
                  </a:lnTo>
                  <a:lnTo>
                    <a:pt x="146" y="110"/>
                  </a:lnTo>
                  <a:lnTo>
                    <a:pt x="136" y="114"/>
                  </a:lnTo>
                  <a:lnTo>
                    <a:pt x="130" y="123"/>
                  </a:lnTo>
                  <a:lnTo>
                    <a:pt x="122" y="121"/>
                  </a:lnTo>
                  <a:lnTo>
                    <a:pt x="116" y="126"/>
                  </a:lnTo>
                  <a:lnTo>
                    <a:pt x="111" y="133"/>
                  </a:lnTo>
                  <a:lnTo>
                    <a:pt x="99" y="134"/>
                  </a:lnTo>
                  <a:lnTo>
                    <a:pt x="93" y="140"/>
                  </a:lnTo>
                  <a:lnTo>
                    <a:pt x="97" y="154"/>
                  </a:lnTo>
                  <a:lnTo>
                    <a:pt x="101" y="168"/>
                  </a:lnTo>
                  <a:lnTo>
                    <a:pt x="105" y="176"/>
                  </a:lnTo>
                  <a:lnTo>
                    <a:pt x="113" y="186"/>
                  </a:lnTo>
                  <a:lnTo>
                    <a:pt x="118" y="196"/>
                  </a:lnTo>
                  <a:lnTo>
                    <a:pt x="121" y="203"/>
                  </a:lnTo>
                  <a:lnTo>
                    <a:pt x="121" y="210"/>
                  </a:lnTo>
                  <a:lnTo>
                    <a:pt x="113" y="211"/>
                  </a:lnTo>
                  <a:lnTo>
                    <a:pt x="105" y="208"/>
                  </a:lnTo>
                  <a:lnTo>
                    <a:pt x="97" y="208"/>
                  </a:lnTo>
                  <a:lnTo>
                    <a:pt x="91" y="207"/>
                  </a:lnTo>
                  <a:lnTo>
                    <a:pt x="86" y="216"/>
                  </a:lnTo>
                  <a:lnTo>
                    <a:pt x="76" y="222"/>
                  </a:lnTo>
                  <a:lnTo>
                    <a:pt x="71" y="224"/>
                  </a:lnTo>
                  <a:lnTo>
                    <a:pt x="59" y="219"/>
                  </a:lnTo>
                  <a:lnTo>
                    <a:pt x="49" y="220"/>
                  </a:lnTo>
                  <a:lnTo>
                    <a:pt x="47" y="231"/>
                  </a:lnTo>
                  <a:lnTo>
                    <a:pt x="41" y="234"/>
                  </a:lnTo>
                  <a:lnTo>
                    <a:pt x="34" y="241"/>
                  </a:lnTo>
                  <a:lnTo>
                    <a:pt x="41" y="249"/>
                  </a:lnTo>
                  <a:lnTo>
                    <a:pt x="45" y="260"/>
                  </a:lnTo>
                  <a:lnTo>
                    <a:pt x="41" y="266"/>
                  </a:lnTo>
                  <a:lnTo>
                    <a:pt x="31" y="272"/>
                  </a:lnTo>
                  <a:lnTo>
                    <a:pt x="23" y="264"/>
                  </a:lnTo>
                  <a:lnTo>
                    <a:pt x="14" y="260"/>
                  </a:lnTo>
                  <a:lnTo>
                    <a:pt x="1" y="263"/>
                  </a:lnTo>
                  <a:lnTo>
                    <a:pt x="0" y="274"/>
                  </a:lnTo>
                  <a:lnTo>
                    <a:pt x="3" y="283"/>
                  </a:lnTo>
                  <a:lnTo>
                    <a:pt x="3" y="291"/>
                  </a:lnTo>
                  <a:lnTo>
                    <a:pt x="5" y="299"/>
                  </a:lnTo>
                  <a:lnTo>
                    <a:pt x="13" y="302"/>
                  </a:lnTo>
                  <a:lnTo>
                    <a:pt x="24" y="306"/>
                  </a:lnTo>
                  <a:lnTo>
                    <a:pt x="31" y="312"/>
                  </a:lnTo>
                  <a:lnTo>
                    <a:pt x="30" y="329"/>
                  </a:lnTo>
                  <a:lnTo>
                    <a:pt x="35" y="338"/>
                  </a:lnTo>
                  <a:lnTo>
                    <a:pt x="45" y="340"/>
                  </a:lnTo>
                  <a:lnTo>
                    <a:pt x="54" y="340"/>
                  </a:lnTo>
                  <a:lnTo>
                    <a:pt x="60" y="346"/>
                  </a:lnTo>
                  <a:lnTo>
                    <a:pt x="67" y="351"/>
                  </a:lnTo>
                  <a:lnTo>
                    <a:pt x="76" y="350"/>
                  </a:lnTo>
                  <a:lnTo>
                    <a:pt x="86" y="349"/>
                  </a:lnTo>
                  <a:lnTo>
                    <a:pt x="92" y="352"/>
                  </a:lnTo>
                  <a:lnTo>
                    <a:pt x="104" y="349"/>
                  </a:lnTo>
                  <a:lnTo>
                    <a:pt x="113" y="338"/>
                  </a:lnTo>
                  <a:lnTo>
                    <a:pt x="123" y="328"/>
                  </a:lnTo>
                  <a:lnTo>
                    <a:pt x="130" y="321"/>
                  </a:lnTo>
                  <a:lnTo>
                    <a:pt x="133" y="310"/>
                  </a:lnTo>
                  <a:lnTo>
                    <a:pt x="140" y="303"/>
                  </a:lnTo>
                  <a:lnTo>
                    <a:pt x="148" y="296"/>
                  </a:lnTo>
                  <a:lnTo>
                    <a:pt x="154" y="286"/>
                  </a:lnTo>
                  <a:lnTo>
                    <a:pt x="168" y="279"/>
                  </a:lnTo>
                  <a:lnTo>
                    <a:pt x="172" y="268"/>
                  </a:lnTo>
                  <a:lnTo>
                    <a:pt x="178" y="258"/>
                  </a:lnTo>
                  <a:lnTo>
                    <a:pt x="187" y="250"/>
                  </a:lnTo>
                  <a:lnTo>
                    <a:pt x="191" y="240"/>
                  </a:lnTo>
                  <a:lnTo>
                    <a:pt x="199" y="235"/>
                  </a:lnTo>
                  <a:lnTo>
                    <a:pt x="207" y="226"/>
                  </a:lnTo>
                  <a:lnTo>
                    <a:pt x="213" y="213"/>
                  </a:lnTo>
                  <a:lnTo>
                    <a:pt x="215" y="201"/>
                  </a:lnTo>
                  <a:lnTo>
                    <a:pt x="219" y="195"/>
                  </a:lnTo>
                  <a:lnTo>
                    <a:pt x="227" y="196"/>
                  </a:lnTo>
                  <a:lnTo>
                    <a:pt x="233" y="199"/>
                  </a:lnTo>
                  <a:lnTo>
                    <a:pt x="246" y="192"/>
                  </a:lnTo>
                  <a:lnTo>
                    <a:pt x="256" y="182"/>
                  </a:lnTo>
                  <a:lnTo>
                    <a:pt x="258" y="175"/>
                  </a:lnTo>
                  <a:lnTo>
                    <a:pt x="253" y="169"/>
                  </a:lnTo>
                  <a:lnTo>
                    <a:pt x="246" y="162"/>
                  </a:lnTo>
                  <a:lnTo>
                    <a:pt x="250" y="155"/>
                  </a:lnTo>
                  <a:lnTo>
                    <a:pt x="261" y="143"/>
                  </a:lnTo>
                  <a:lnTo>
                    <a:pt x="267" y="136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63" name="Freeform 59">
              <a:extLst>
                <a:ext uri="{FF2B5EF4-FFF2-40B4-BE49-F238E27FC236}">
                  <a16:creationId xmlns:a16="http://schemas.microsoft.com/office/drawing/2014/main" id="{D83D5E79-C13B-455F-ACB2-815A94026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" y="2130"/>
              <a:ext cx="332" cy="352"/>
            </a:xfrm>
            <a:custGeom>
              <a:avLst/>
              <a:gdLst>
                <a:gd name="T0" fmla="*/ 270 w 332"/>
                <a:gd name="T1" fmla="*/ 126 h 352"/>
                <a:gd name="T2" fmla="*/ 298 w 332"/>
                <a:gd name="T3" fmla="*/ 100 h 352"/>
                <a:gd name="T4" fmla="*/ 312 w 332"/>
                <a:gd name="T5" fmla="*/ 78 h 352"/>
                <a:gd name="T6" fmla="*/ 313 w 332"/>
                <a:gd name="T7" fmla="*/ 55 h 352"/>
                <a:gd name="T8" fmla="*/ 324 w 332"/>
                <a:gd name="T9" fmla="*/ 39 h 352"/>
                <a:gd name="T10" fmla="*/ 332 w 332"/>
                <a:gd name="T11" fmla="*/ 23 h 352"/>
                <a:gd name="T12" fmla="*/ 329 w 332"/>
                <a:gd name="T13" fmla="*/ 5 h 352"/>
                <a:gd name="T14" fmla="*/ 319 w 332"/>
                <a:gd name="T15" fmla="*/ 9 h 352"/>
                <a:gd name="T16" fmla="*/ 301 w 332"/>
                <a:gd name="T17" fmla="*/ 25 h 352"/>
                <a:gd name="T18" fmla="*/ 292 w 332"/>
                <a:gd name="T19" fmla="*/ 41 h 352"/>
                <a:gd name="T20" fmla="*/ 288 w 332"/>
                <a:gd name="T21" fmla="*/ 55 h 352"/>
                <a:gd name="T22" fmla="*/ 276 w 332"/>
                <a:gd name="T23" fmla="*/ 73 h 352"/>
                <a:gd name="T24" fmla="*/ 262 w 332"/>
                <a:gd name="T25" fmla="*/ 85 h 352"/>
                <a:gd name="T26" fmla="*/ 238 w 332"/>
                <a:gd name="T27" fmla="*/ 80 h 352"/>
                <a:gd name="T28" fmla="*/ 249 w 332"/>
                <a:gd name="T29" fmla="*/ 68 h 352"/>
                <a:gd name="T30" fmla="*/ 231 w 332"/>
                <a:gd name="T31" fmla="*/ 62 h 352"/>
                <a:gd name="T32" fmla="*/ 212 w 332"/>
                <a:gd name="T33" fmla="*/ 74 h 352"/>
                <a:gd name="T34" fmla="*/ 192 w 332"/>
                <a:gd name="T35" fmla="*/ 67 h 352"/>
                <a:gd name="T36" fmla="*/ 176 w 332"/>
                <a:gd name="T37" fmla="*/ 80 h 352"/>
                <a:gd name="T38" fmla="*/ 158 w 332"/>
                <a:gd name="T39" fmla="*/ 93 h 352"/>
                <a:gd name="T40" fmla="*/ 158 w 332"/>
                <a:gd name="T41" fmla="*/ 108 h 352"/>
                <a:gd name="T42" fmla="*/ 136 w 332"/>
                <a:gd name="T43" fmla="*/ 114 h 352"/>
                <a:gd name="T44" fmla="*/ 122 w 332"/>
                <a:gd name="T45" fmla="*/ 121 h 352"/>
                <a:gd name="T46" fmla="*/ 111 w 332"/>
                <a:gd name="T47" fmla="*/ 133 h 352"/>
                <a:gd name="T48" fmla="*/ 93 w 332"/>
                <a:gd name="T49" fmla="*/ 140 h 352"/>
                <a:gd name="T50" fmla="*/ 101 w 332"/>
                <a:gd name="T51" fmla="*/ 168 h 352"/>
                <a:gd name="T52" fmla="*/ 113 w 332"/>
                <a:gd name="T53" fmla="*/ 186 h 352"/>
                <a:gd name="T54" fmla="*/ 121 w 332"/>
                <a:gd name="T55" fmla="*/ 203 h 352"/>
                <a:gd name="T56" fmla="*/ 113 w 332"/>
                <a:gd name="T57" fmla="*/ 211 h 352"/>
                <a:gd name="T58" fmla="*/ 97 w 332"/>
                <a:gd name="T59" fmla="*/ 208 h 352"/>
                <a:gd name="T60" fmla="*/ 86 w 332"/>
                <a:gd name="T61" fmla="*/ 216 h 352"/>
                <a:gd name="T62" fmla="*/ 71 w 332"/>
                <a:gd name="T63" fmla="*/ 224 h 352"/>
                <a:gd name="T64" fmla="*/ 49 w 332"/>
                <a:gd name="T65" fmla="*/ 220 h 352"/>
                <a:gd name="T66" fmla="*/ 41 w 332"/>
                <a:gd name="T67" fmla="*/ 234 h 352"/>
                <a:gd name="T68" fmla="*/ 41 w 332"/>
                <a:gd name="T69" fmla="*/ 249 h 352"/>
                <a:gd name="T70" fmla="*/ 41 w 332"/>
                <a:gd name="T71" fmla="*/ 266 h 352"/>
                <a:gd name="T72" fmla="*/ 23 w 332"/>
                <a:gd name="T73" fmla="*/ 264 h 352"/>
                <a:gd name="T74" fmla="*/ 1 w 332"/>
                <a:gd name="T75" fmla="*/ 263 h 352"/>
                <a:gd name="T76" fmla="*/ 3 w 332"/>
                <a:gd name="T77" fmla="*/ 283 h 352"/>
                <a:gd name="T78" fmla="*/ 5 w 332"/>
                <a:gd name="T79" fmla="*/ 299 h 352"/>
                <a:gd name="T80" fmla="*/ 24 w 332"/>
                <a:gd name="T81" fmla="*/ 306 h 352"/>
                <a:gd name="T82" fmla="*/ 30 w 332"/>
                <a:gd name="T83" fmla="*/ 329 h 352"/>
                <a:gd name="T84" fmla="*/ 45 w 332"/>
                <a:gd name="T85" fmla="*/ 340 h 352"/>
                <a:gd name="T86" fmla="*/ 60 w 332"/>
                <a:gd name="T87" fmla="*/ 346 h 352"/>
                <a:gd name="T88" fmla="*/ 76 w 332"/>
                <a:gd name="T89" fmla="*/ 350 h 352"/>
                <a:gd name="T90" fmla="*/ 92 w 332"/>
                <a:gd name="T91" fmla="*/ 352 h 352"/>
                <a:gd name="T92" fmla="*/ 113 w 332"/>
                <a:gd name="T93" fmla="*/ 338 h 352"/>
                <a:gd name="T94" fmla="*/ 130 w 332"/>
                <a:gd name="T95" fmla="*/ 321 h 352"/>
                <a:gd name="T96" fmla="*/ 140 w 332"/>
                <a:gd name="T97" fmla="*/ 303 h 352"/>
                <a:gd name="T98" fmla="*/ 154 w 332"/>
                <a:gd name="T99" fmla="*/ 286 h 352"/>
                <a:gd name="T100" fmla="*/ 172 w 332"/>
                <a:gd name="T101" fmla="*/ 268 h 352"/>
                <a:gd name="T102" fmla="*/ 187 w 332"/>
                <a:gd name="T103" fmla="*/ 250 h 352"/>
                <a:gd name="T104" fmla="*/ 199 w 332"/>
                <a:gd name="T105" fmla="*/ 235 h 352"/>
                <a:gd name="T106" fmla="*/ 213 w 332"/>
                <a:gd name="T107" fmla="*/ 213 h 352"/>
                <a:gd name="T108" fmla="*/ 219 w 332"/>
                <a:gd name="T109" fmla="*/ 195 h 352"/>
                <a:gd name="T110" fmla="*/ 233 w 332"/>
                <a:gd name="T111" fmla="*/ 199 h 352"/>
                <a:gd name="T112" fmla="*/ 256 w 332"/>
                <a:gd name="T113" fmla="*/ 182 h 352"/>
                <a:gd name="T114" fmla="*/ 253 w 332"/>
                <a:gd name="T115" fmla="*/ 169 h 352"/>
                <a:gd name="T116" fmla="*/ 250 w 332"/>
                <a:gd name="T117" fmla="*/ 155 h 352"/>
                <a:gd name="T118" fmla="*/ 267 w 332"/>
                <a:gd name="T119" fmla="*/ 13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2" h="352">
                  <a:moveTo>
                    <a:pt x="267" y="136"/>
                  </a:moveTo>
                  <a:lnTo>
                    <a:pt x="270" y="126"/>
                  </a:lnTo>
                  <a:lnTo>
                    <a:pt x="287" y="109"/>
                  </a:lnTo>
                  <a:lnTo>
                    <a:pt x="298" y="100"/>
                  </a:lnTo>
                  <a:lnTo>
                    <a:pt x="309" y="86"/>
                  </a:lnTo>
                  <a:lnTo>
                    <a:pt x="312" y="78"/>
                  </a:lnTo>
                  <a:lnTo>
                    <a:pt x="312" y="67"/>
                  </a:lnTo>
                  <a:lnTo>
                    <a:pt x="313" y="55"/>
                  </a:lnTo>
                  <a:lnTo>
                    <a:pt x="317" y="43"/>
                  </a:lnTo>
                  <a:lnTo>
                    <a:pt x="324" y="39"/>
                  </a:lnTo>
                  <a:lnTo>
                    <a:pt x="326" y="31"/>
                  </a:lnTo>
                  <a:lnTo>
                    <a:pt x="332" y="23"/>
                  </a:lnTo>
                  <a:lnTo>
                    <a:pt x="331" y="16"/>
                  </a:lnTo>
                  <a:lnTo>
                    <a:pt x="329" y="5"/>
                  </a:lnTo>
                  <a:lnTo>
                    <a:pt x="321" y="0"/>
                  </a:lnTo>
                  <a:lnTo>
                    <a:pt x="319" y="9"/>
                  </a:lnTo>
                  <a:lnTo>
                    <a:pt x="310" y="18"/>
                  </a:lnTo>
                  <a:lnTo>
                    <a:pt x="301" y="25"/>
                  </a:lnTo>
                  <a:lnTo>
                    <a:pt x="294" y="31"/>
                  </a:lnTo>
                  <a:lnTo>
                    <a:pt x="292" y="41"/>
                  </a:lnTo>
                  <a:lnTo>
                    <a:pt x="288" y="46"/>
                  </a:lnTo>
                  <a:lnTo>
                    <a:pt x="288" y="55"/>
                  </a:lnTo>
                  <a:lnTo>
                    <a:pt x="282" y="63"/>
                  </a:lnTo>
                  <a:lnTo>
                    <a:pt x="276" y="73"/>
                  </a:lnTo>
                  <a:lnTo>
                    <a:pt x="271" y="80"/>
                  </a:lnTo>
                  <a:lnTo>
                    <a:pt x="262" y="85"/>
                  </a:lnTo>
                  <a:lnTo>
                    <a:pt x="246" y="85"/>
                  </a:lnTo>
                  <a:lnTo>
                    <a:pt x="238" y="80"/>
                  </a:lnTo>
                  <a:lnTo>
                    <a:pt x="242" y="73"/>
                  </a:lnTo>
                  <a:lnTo>
                    <a:pt x="249" y="68"/>
                  </a:lnTo>
                  <a:lnTo>
                    <a:pt x="242" y="61"/>
                  </a:lnTo>
                  <a:lnTo>
                    <a:pt x="231" y="62"/>
                  </a:lnTo>
                  <a:lnTo>
                    <a:pt x="219" y="67"/>
                  </a:lnTo>
                  <a:lnTo>
                    <a:pt x="212" y="74"/>
                  </a:lnTo>
                  <a:lnTo>
                    <a:pt x="206" y="68"/>
                  </a:lnTo>
                  <a:lnTo>
                    <a:pt x="192" y="67"/>
                  </a:lnTo>
                  <a:lnTo>
                    <a:pt x="185" y="72"/>
                  </a:lnTo>
                  <a:lnTo>
                    <a:pt x="176" y="80"/>
                  </a:lnTo>
                  <a:lnTo>
                    <a:pt x="166" y="86"/>
                  </a:lnTo>
                  <a:lnTo>
                    <a:pt x="158" y="93"/>
                  </a:lnTo>
                  <a:lnTo>
                    <a:pt x="160" y="102"/>
                  </a:lnTo>
                  <a:lnTo>
                    <a:pt x="158" y="108"/>
                  </a:lnTo>
                  <a:lnTo>
                    <a:pt x="146" y="110"/>
                  </a:lnTo>
                  <a:lnTo>
                    <a:pt x="136" y="114"/>
                  </a:lnTo>
                  <a:lnTo>
                    <a:pt x="130" y="123"/>
                  </a:lnTo>
                  <a:lnTo>
                    <a:pt x="122" y="121"/>
                  </a:lnTo>
                  <a:lnTo>
                    <a:pt x="116" y="126"/>
                  </a:lnTo>
                  <a:lnTo>
                    <a:pt x="111" y="133"/>
                  </a:lnTo>
                  <a:lnTo>
                    <a:pt x="99" y="134"/>
                  </a:lnTo>
                  <a:lnTo>
                    <a:pt x="93" y="140"/>
                  </a:lnTo>
                  <a:lnTo>
                    <a:pt x="97" y="154"/>
                  </a:lnTo>
                  <a:lnTo>
                    <a:pt x="101" y="168"/>
                  </a:lnTo>
                  <a:lnTo>
                    <a:pt x="105" y="176"/>
                  </a:lnTo>
                  <a:lnTo>
                    <a:pt x="113" y="186"/>
                  </a:lnTo>
                  <a:lnTo>
                    <a:pt x="118" y="196"/>
                  </a:lnTo>
                  <a:lnTo>
                    <a:pt x="121" y="203"/>
                  </a:lnTo>
                  <a:lnTo>
                    <a:pt x="121" y="210"/>
                  </a:lnTo>
                  <a:lnTo>
                    <a:pt x="113" y="211"/>
                  </a:lnTo>
                  <a:lnTo>
                    <a:pt x="105" y="208"/>
                  </a:lnTo>
                  <a:lnTo>
                    <a:pt x="97" y="208"/>
                  </a:lnTo>
                  <a:lnTo>
                    <a:pt x="91" y="207"/>
                  </a:lnTo>
                  <a:lnTo>
                    <a:pt x="86" y="216"/>
                  </a:lnTo>
                  <a:lnTo>
                    <a:pt x="76" y="222"/>
                  </a:lnTo>
                  <a:lnTo>
                    <a:pt x="71" y="224"/>
                  </a:lnTo>
                  <a:lnTo>
                    <a:pt x="59" y="219"/>
                  </a:lnTo>
                  <a:lnTo>
                    <a:pt x="49" y="220"/>
                  </a:lnTo>
                  <a:lnTo>
                    <a:pt x="47" y="231"/>
                  </a:lnTo>
                  <a:lnTo>
                    <a:pt x="41" y="234"/>
                  </a:lnTo>
                  <a:lnTo>
                    <a:pt x="34" y="241"/>
                  </a:lnTo>
                  <a:lnTo>
                    <a:pt x="41" y="249"/>
                  </a:lnTo>
                  <a:lnTo>
                    <a:pt x="45" y="260"/>
                  </a:lnTo>
                  <a:lnTo>
                    <a:pt x="41" y="266"/>
                  </a:lnTo>
                  <a:lnTo>
                    <a:pt x="31" y="272"/>
                  </a:lnTo>
                  <a:lnTo>
                    <a:pt x="23" y="264"/>
                  </a:lnTo>
                  <a:lnTo>
                    <a:pt x="14" y="260"/>
                  </a:lnTo>
                  <a:lnTo>
                    <a:pt x="1" y="263"/>
                  </a:lnTo>
                  <a:lnTo>
                    <a:pt x="0" y="274"/>
                  </a:lnTo>
                  <a:lnTo>
                    <a:pt x="3" y="283"/>
                  </a:lnTo>
                  <a:lnTo>
                    <a:pt x="3" y="291"/>
                  </a:lnTo>
                  <a:lnTo>
                    <a:pt x="5" y="299"/>
                  </a:lnTo>
                  <a:lnTo>
                    <a:pt x="13" y="302"/>
                  </a:lnTo>
                  <a:lnTo>
                    <a:pt x="24" y="306"/>
                  </a:lnTo>
                  <a:lnTo>
                    <a:pt x="31" y="312"/>
                  </a:lnTo>
                  <a:lnTo>
                    <a:pt x="30" y="329"/>
                  </a:lnTo>
                  <a:lnTo>
                    <a:pt x="35" y="338"/>
                  </a:lnTo>
                  <a:lnTo>
                    <a:pt x="45" y="340"/>
                  </a:lnTo>
                  <a:lnTo>
                    <a:pt x="54" y="340"/>
                  </a:lnTo>
                  <a:lnTo>
                    <a:pt x="60" y="346"/>
                  </a:lnTo>
                  <a:lnTo>
                    <a:pt x="67" y="351"/>
                  </a:lnTo>
                  <a:lnTo>
                    <a:pt x="76" y="350"/>
                  </a:lnTo>
                  <a:lnTo>
                    <a:pt x="86" y="349"/>
                  </a:lnTo>
                  <a:lnTo>
                    <a:pt x="92" y="352"/>
                  </a:lnTo>
                  <a:lnTo>
                    <a:pt x="104" y="349"/>
                  </a:lnTo>
                  <a:lnTo>
                    <a:pt x="113" y="338"/>
                  </a:lnTo>
                  <a:lnTo>
                    <a:pt x="123" y="328"/>
                  </a:lnTo>
                  <a:lnTo>
                    <a:pt x="130" y="321"/>
                  </a:lnTo>
                  <a:lnTo>
                    <a:pt x="133" y="310"/>
                  </a:lnTo>
                  <a:lnTo>
                    <a:pt x="140" y="303"/>
                  </a:lnTo>
                  <a:lnTo>
                    <a:pt x="148" y="296"/>
                  </a:lnTo>
                  <a:lnTo>
                    <a:pt x="154" y="286"/>
                  </a:lnTo>
                  <a:lnTo>
                    <a:pt x="168" y="279"/>
                  </a:lnTo>
                  <a:lnTo>
                    <a:pt x="172" y="268"/>
                  </a:lnTo>
                  <a:lnTo>
                    <a:pt x="178" y="258"/>
                  </a:lnTo>
                  <a:lnTo>
                    <a:pt x="187" y="250"/>
                  </a:lnTo>
                  <a:lnTo>
                    <a:pt x="191" y="240"/>
                  </a:lnTo>
                  <a:lnTo>
                    <a:pt x="199" y="235"/>
                  </a:lnTo>
                  <a:lnTo>
                    <a:pt x="207" y="226"/>
                  </a:lnTo>
                  <a:lnTo>
                    <a:pt x="213" y="213"/>
                  </a:lnTo>
                  <a:lnTo>
                    <a:pt x="215" y="201"/>
                  </a:lnTo>
                  <a:lnTo>
                    <a:pt x="219" y="195"/>
                  </a:lnTo>
                  <a:lnTo>
                    <a:pt x="227" y="196"/>
                  </a:lnTo>
                  <a:lnTo>
                    <a:pt x="233" y="199"/>
                  </a:lnTo>
                  <a:lnTo>
                    <a:pt x="246" y="192"/>
                  </a:lnTo>
                  <a:lnTo>
                    <a:pt x="256" y="182"/>
                  </a:lnTo>
                  <a:lnTo>
                    <a:pt x="258" y="175"/>
                  </a:lnTo>
                  <a:lnTo>
                    <a:pt x="253" y="169"/>
                  </a:lnTo>
                  <a:lnTo>
                    <a:pt x="246" y="162"/>
                  </a:lnTo>
                  <a:lnTo>
                    <a:pt x="250" y="155"/>
                  </a:lnTo>
                  <a:lnTo>
                    <a:pt x="261" y="143"/>
                  </a:lnTo>
                  <a:lnTo>
                    <a:pt x="267" y="136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AAB25D6C-9474-4C5F-8C0A-D1686A08D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" y="2217"/>
              <a:ext cx="353" cy="342"/>
            </a:xfrm>
            <a:custGeom>
              <a:avLst/>
              <a:gdLst>
                <a:gd name="T0" fmla="*/ 302 w 353"/>
                <a:gd name="T1" fmla="*/ 271 h 342"/>
                <a:gd name="T2" fmla="*/ 290 w 353"/>
                <a:gd name="T3" fmla="*/ 296 h 342"/>
                <a:gd name="T4" fmla="*/ 326 w 353"/>
                <a:gd name="T5" fmla="*/ 329 h 342"/>
                <a:gd name="T6" fmla="*/ 311 w 353"/>
                <a:gd name="T7" fmla="*/ 336 h 342"/>
                <a:gd name="T8" fmla="*/ 286 w 353"/>
                <a:gd name="T9" fmla="*/ 342 h 342"/>
                <a:gd name="T10" fmla="*/ 266 w 353"/>
                <a:gd name="T11" fmla="*/ 340 h 342"/>
                <a:gd name="T12" fmla="*/ 248 w 353"/>
                <a:gd name="T13" fmla="*/ 321 h 342"/>
                <a:gd name="T14" fmla="*/ 243 w 353"/>
                <a:gd name="T15" fmla="*/ 284 h 342"/>
                <a:gd name="T16" fmla="*/ 218 w 353"/>
                <a:gd name="T17" fmla="*/ 290 h 342"/>
                <a:gd name="T18" fmla="*/ 204 w 353"/>
                <a:gd name="T19" fmla="*/ 292 h 342"/>
                <a:gd name="T20" fmla="*/ 208 w 353"/>
                <a:gd name="T21" fmla="*/ 266 h 342"/>
                <a:gd name="T22" fmla="*/ 191 w 353"/>
                <a:gd name="T23" fmla="*/ 246 h 342"/>
                <a:gd name="T24" fmla="*/ 165 w 353"/>
                <a:gd name="T25" fmla="*/ 240 h 342"/>
                <a:gd name="T26" fmla="*/ 133 w 353"/>
                <a:gd name="T27" fmla="*/ 246 h 342"/>
                <a:gd name="T28" fmla="*/ 122 w 353"/>
                <a:gd name="T29" fmla="*/ 219 h 342"/>
                <a:gd name="T30" fmla="*/ 129 w 353"/>
                <a:gd name="T31" fmla="*/ 199 h 342"/>
                <a:gd name="T32" fmla="*/ 115 w 353"/>
                <a:gd name="T33" fmla="*/ 175 h 342"/>
                <a:gd name="T34" fmla="*/ 84 w 353"/>
                <a:gd name="T35" fmla="*/ 171 h 342"/>
                <a:gd name="T36" fmla="*/ 53 w 353"/>
                <a:gd name="T37" fmla="*/ 163 h 342"/>
                <a:gd name="T38" fmla="*/ 31 w 353"/>
                <a:gd name="T39" fmla="*/ 136 h 342"/>
                <a:gd name="T40" fmla="*/ 6 w 353"/>
                <a:gd name="T41" fmla="*/ 110 h 342"/>
                <a:gd name="T42" fmla="*/ 17 w 353"/>
                <a:gd name="T43" fmla="*/ 95 h 342"/>
                <a:gd name="T44" fmla="*/ 28 w 353"/>
                <a:gd name="T45" fmla="*/ 83 h 342"/>
                <a:gd name="T46" fmla="*/ 47 w 353"/>
                <a:gd name="T47" fmla="*/ 71 h 342"/>
                <a:gd name="T48" fmla="*/ 59 w 353"/>
                <a:gd name="T49" fmla="*/ 56 h 342"/>
                <a:gd name="T50" fmla="*/ 54 w 353"/>
                <a:gd name="T51" fmla="*/ 42 h 342"/>
                <a:gd name="T52" fmla="*/ 72 w 353"/>
                <a:gd name="T53" fmla="*/ 21 h 342"/>
                <a:gd name="T54" fmla="*/ 98 w 353"/>
                <a:gd name="T55" fmla="*/ 21 h 342"/>
                <a:gd name="T56" fmla="*/ 120 w 353"/>
                <a:gd name="T57" fmla="*/ 29 h 342"/>
                <a:gd name="T58" fmla="*/ 144 w 353"/>
                <a:gd name="T59" fmla="*/ 37 h 342"/>
                <a:gd name="T60" fmla="*/ 176 w 353"/>
                <a:gd name="T61" fmla="*/ 44 h 342"/>
                <a:gd name="T62" fmla="*/ 196 w 353"/>
                <a:gd name="T63" fmla="*/ 32 h 342"/>
                <a:gd name="T64" fmla="*/ 228 w 353"/>
                <a:gd name="T65" fmla="*/ 32 h 342"/>
                <a:gd name="T66" fmla="*/ 240 w 353"/>
                <a:gd name="T67" fmla="*/ 12 h 342"/>
                <a:gd name="T68" fmla="*/ 260 w 353"/>
                <a:gd name="T69" fmla="*/ 7 h 342"/>
                <a:gd name="T70" fmla="*/ 291 w 353"/>
                <a:gd name="T71" fmla="*/ 12 h 342"/>
                <a:gd name="T72" fmla="*/ 311 w 353"/>
                <a:gd name="T73" fmla="*/ 29 h 342"/>
                <a:gd name="T74" fmla="*/ 331 w 353"/>
                <a:gd name="T75" fmla="*/ 49 h 342"/>
                <a:gd name="T76" fmla="*/ 332 w 353"/>
                <a:gd name="T77" fmla="*/ 82 h 342"/>
                <a:gd name="T78" fmla="*/ 350 w 353"/>
                <a:gd name="T79" fmla="*/ 109 h 342"/>
                <a:gd name="T80" fmla="*/ 344 w 353"/>
                <a:gd name="T81" fmla="*/ 124 h 342"/>
                <a:gd name="T82" fmla="*/ 322 w 353"/>
                <a:gd name="T83" fmla="*/ 120 h 342"/>
                <a:gd name="T84" fmla="*/ 302 w 353"/>
                <a:gd name="T85" fmla="*/ 136 h 342"/>
                <a:gd name="T86" fmla="*/ 278 w 353"/>
                <a:gd name="T87" fmla="*/ 143 h 342"/>
                <a:gd name="T88" fmla="*/ 272 w 353"/>
                <a:gd name="T89" fmla="*/ 161 h 342"/>
                <a:gd name="T90" fmla="*/ 262 w 353"/>
                <a:gd name="T91" fmla="*/ 183 h 342"/>
                <a:gd name="T92" fmla="*/ 232 w 353"/>
                <a:gd name="T93" fmla="*/ 175 h 342"/>
                <a:gd name="T94" fmla="*/ 233 w 353"/>
                <a:gd name="T95" fmla="*/ 203 h 342"/>
                <a:gd name="T96" fmla="*/ 255 w 353"/>
                <a:gd name="T97" fmla="*/ 217 h 342"/>
                <a:gd name="T98" fmla="*/ 266 w 353"/>
                <a:gd name="T99" fmla="*/ 248 h 342"/>
                <a:gd name="T100" fmla="*/ 291 w 353"/>
                <a:gd name="T101" fmla="*/ 257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3" h="342">
                  <a:moveTo>
                    <a:pt x="307" y="260"/>
                  </a:moveTo>
                  <a:lnTo>
                    <a:pt x="306" y="266"/>
                  </a:lnTo>
                  <a:lnTo>
                    <a:pt x="302" y="271"/>
                  </a:lnTo>
                  <a:lnTo>
                    <a:pt x="300" y="280"/>
                  </a:lnTo>
                  <a:lnTo>
                    <a:pt x="294" y="286"/>
                  </a:lnTo>
                  <a:lnTo>
                    <a:pt x="290" y="296"/>
                  </a:lnTo>
                  <a:lnTo>
                    <a:pt x="302" y="307"/>
                  </a:lnTo>
                  <a:lnTo>
                    <a:pt x="318" y="321"/>
                  </a:lnTo>
                  <a:lnTo>
                    <a:pt x="326" y="329"/>
                  </a:lnTo>
                  <a:lnTo>
                    <a:pt x="324" y="335"/>
                  </a:lnTo>
                  <a:lnTo>
                    <a:pt x="318" y="337"/>
                  </a:lnTo>
                  <a:lnTo>
                    <a:pt x="311" y="336"/>
                  </a:lnTo>
                  <a:lnTo>
                    <a:pt x="304" y="340"/>
                  </a:lnTo>
                  <a:lnTo>
                    <a:pt x="300" y="342"/>
                  </a:lnTo>
                  <a:lnTo>
                    <a:pt x="286" y="342"/>
                  </a:lnTo>
                  <a:lnTo>
                    <a:pt x="281" y="336"/>
                  </a:lnTo>
                  <a:lnTo>
                    <a:pt x="275" y="341"/>
                  </a:lnTo>
                  <a:lnTo>
                    <a:pt x="266" y="340"/>
                  </a:lnTo>
                  <a:lnTo>
                    <a:pt x="256" y="334"/>
                  </a:lnTo>
                  <a:lnTo>
                    <a:pt x="248" y="331"/>
                  </a:lnTo>
                  <a:lnTo>
                    <a:pt x="248" y="321"/>
                  </a:lnTo>
                  <a:lnTo>
                    <a:pt x="246" y="309"/>
                  </a:lnTo>
                  <a:lnTo>
                    <a:pt x="246" y="293"/>
                  </a:lnTo>
                  <a:lnTo>
                    <a:pt x="243" y="284"/>
                  </a:lnTo>
                  <a:lnTo>
                    <a:pt x="230" y="279"/>
                  </a:lnTo>
                  <a:lnTo>
                    <a:pt x="221" y="282"/>
                  </a:lnTo>
                  <a:lnTo>
                    <a:pt x="218" y="290"/>
                  </a:lnTo>
                  <a:lnTo>
                    <a:pt x="215" y="296"/>
                  </a:lnTo>
                  <a:lnTo>
                    <a:pt x="203" y="298"/>
                  </a:lnTo>
                  <a:lnTo>
                    <a:pt x="204" y="292"/>
                  </a:lnTo>
                  <a:lnTo>
                    <a:pt x="207" y="285"/>
                  </a:lnTo>
                  <a:lnTo>
                    <a:pt x="203" y="276"/>
                  </a:lnTo>
                  <a:lnTo>
                    <a:pt x="208" y="266"/>
                  </a:lnTo>
                  <a:lnTo>
                    <a:pt x="207" y="257"/>
                  </a:lnTo>
                  <a:lnTo>
                    <a:pt x="201" y="250"/>
                  </a:lnTo>
                  <a:lnTo>
                    <a:pt x="191" y="246"/>
                  </a:lnTo>
                  <a:lnTo>
                    <a:pt x="181" y="244"/>
                  </a:lnTo>
                  <a:lnTo>
                    <a:pt x="173" y="238"/>
                  </a:lnTo>
                  <a:lnTo>
                    <a:pt x="165" y="240"/>
                  </a:lnTo>
                  <a:lnTo>
                    <a:pt x="154" y="244"/>
                  </a:lnTo>
                  <a:lnTo>
                    <a:pt x="140" y="241"/>
                  </a:lnTo>
                  <a:lnTo>
                    <a:pt x="133" y="246"/>
                  </a:lnTo>
                  <a:lnTo>
                    <a:pt x="123" y="241"/>
                  </a:lnTo>
                  <a:lnTo>
                    <a:pt x="122" y="231"/>
                  </a:lnTo>
                  <a:lnTo>
                    <a:pt x="122" y="219"/>
                  </a:lnTo>
                  <a:lnTo>
                    <a:pt x="129" y="211"/>
                  </a:lnTo>
                  <a:lnTo>
                    <a:pt x="135" y="205"/>
                  </a:lnTo>
                  <a:lnTo>
                    <a:pt x="129" y="199"/>
                  </a:lnTo>
                  <a:lnTo>
                    <a:pt x="117" y="194"/>
                  </a:lnTo>
                  <a:lnTo>
                    <a:pt x="115" y="186"/>
                  </a:lnTo>
                  <a:lnTo>
                    <a:pt x="115" y="175"/>
                  </a:lnTo>
                  <a:lnTo>
                    <a:pt x="110" y="167"/>
                  </a:lnTo>
                  <a:lnTo>
                    <a:pt x="101" y="168"/>
                  </a:lnTo>
                  <a:lnTo>
                    <a:pt x="84" y="171"/>
                  </a:lnTo>
                  <a:lnTo>
                    <a:pt x="72" y="173"/>
                  </a:lnTo>
                  <a:lnTo>
                    <a:pt x="61" y="168"/>
                  </a:lnTo>
                  <a:lnTo>
                    <a:pt x="53" y="163"/>
                  </a:lnTo>
                  <a:lnTo>
                    <a:pt x="48" y="155"/>
                  </a:lnTo>
                  <a:lnTo>
                    <a:pt x="40" y="148"/>
                  </a:lnTo>
                  <a:lnTo>
                    <a:pt x="31" y="136"/>
                  </a:lnTo>
                  <a:lnTo>
                    <a:pt x="25" y="128"/>
                  </a:lnTo>
                  <a:lnTo>
                    <a:pt x="14" y="120"/>
                  </a:lnTo>
                  <a:lnTo>
                    <a:pt x="6" y="110"/>
                  </a:lnTo>
                  <a:lnTo>
                    <a:pt x="0" y="102"/>
                  </a:lnTo>
                  <a:lnTo>
                    <a:pt x="7" y="94"/>
                  </a:lnTo>
                  <a:lnTo>
                    <a:pt x="17" y="95"/>
                  </a:lnTo>
                  <a:lnTo>
                    <a:pt x="25" y="100"/>
                  </a:lnTo>
                  <a:lnTo>
                    <a:pt x="27" y="93"/>
                  </a:lnTo>
                  <a:lnTo>
                    <a:pt x="28" y="83"/>
                  </a:lnTo>
                  <a:lnTo>
                    <a:pt x="40" y="78"/>
                  </a:lnTo>
                  <a:lnTo>
                    <a:pt x="48" y="78"/>
                  </a:lnTo>
                  <a:lnTo>
                    <a:pt x="47" y="71"/>
                  </a:lnTo>
                  <a:lnTo>
                    <a:pt x="49" y="64"/>
                  </a:lnTo>
                  <a:lnTo>
                    <a:pt x="58" y="63"/>
                  </a:lnTo>
                  <a:lnTo>
                    <a:pt x="59" y="56"/>
                  </a:lnTo>
                  <a:lnTo>
                    <a:pt x="49" y="51"/>
                  </a:lnTo>
                  <a:lnTo>
                    <a:pt x="42" y="46"/>
                  </a:lnTo>
                  <a:lnTo>
                    <a:pt x="54" y="42"/>
                  </a:lnTo>
                  <a:lnTo>
                    <a:pt x="61" y="37"/>
                  </a:lnTo>
                  <a:lnTo>
                    <a:pt x="68" y="30"/>
                  </a:lnTo>
                  <a:lnTo>
                    <a:pt x="72" y="21"/>
                  </a:lnTo>
                  <a:lnTo>
                    <a:pt x="83" y="16"/>
                  </a:lnTo>
                  <a:lnTo>
                    <a:pt x="93" y="13"/>
                  </a:lnTo>
                  <a:lnTo>
                    <a:pt x="98" y="21"/>
                  </a:lnTo>
                  <a:lnTo>
                    <a:pt x="105" y="27"/>
                  </a:lnTo>
                  <a:lnTo>
                    <a:pt x="111" y="24"/>
                  </a:lnTo>
                  <a:lnTo>
                    <a:pt x="120" y="29"/>
                  </a:lnTo>
                  <a:lnTo>
                    <a:pt x="123" y="37"/>
                  </a:lnTo>
                  <a:lnTo>
                    <a:pt x="133" y="35"/>
                  </a:lnTo>
                  <a:lnTo>
                    <a:pt x="144" y="37"/>
                  </a:lnTo>
                  <a:lnTo>
                    <a:pt x="156" y="39"/>
                  </a:lnTo>
                  <a:lnTo>
                    <a:pt x="164" y="35"/>
                  </a:lnTo>
                  <a:lnTo>
                    <a:pt x="176" y="44"/>
                  </a:lnTo>
                  <a:lnTo>
                    <a:pt x="187" y="45"/>
                  </a:lnTo>
                  <a:lnTo>
                    <a:pt x="193" y="39"/>
                  </a:lnTo>
                  <a:lnTo>
                    <a:pt x="196" y="32"/>
                  </a:lnTo>
                  <a:lnTo>
                    <a:pt x="203" y="37"/>
                  </a:lnTo>
                  <a:lnTo>
                    <a:pt x="214" y="32"/>
                  </a:lnTo>
                  <a:lnTo>
                    <a:pt x="228" y="32"/>
                  </a:lnTo>
                  <a:lnTo>
                    <a:pt x="239" y="30"/>
                  </a:lnTo>
                  <a:lnTo>
                    <a:pt x="239" y="21"/>
                  </a:lnTo>
                  <a:lnTo>
                    <a:pt x="240" y="12"/>
                  </a:lnTo>
                  <a:lnTo>
                    <a:pt x="241" y="5"/>
                  </a:lnTo>
                  <a:lnTo>
                    <a:pt x="250" y="0"/>
                  </a:lnTo>
                  <a:lnTo>
                    <a:pt x="260" y="7"/>
                  </a:lnTo>
                  <a:lnTo>
                    <a:pt x="272" y="4"/>
                  </a:lnTo>
                  <a:lnTo>
                    <a:pt x="281" y="4"/>
                  </a:lnTo>
                  <a:lnTo>
                    <a:pt x="291" y="12"/>
                  </a:lnTo>
                  <a:lnTo>
                    <a:pt x="302" y="16"/>
                  </a:lnTo>
                  <a:lnTo>
                    <a:pt x="309" y="16"/>
                  </a:lnTo>
                  <a:lnTo>
                    <a:pt x="311" y="29"/>
                  </a:lnTo>
                  <a:lnTo>
                    <a:pt x="312" y="37"/>
                  </a:lnTo>
                  <a:lnTo>
                    <a:pt x="318" y="45"/>
                  </a:lnTo>
                  <a:lnTo>
                    <a:pt x="331" y="49"/>
                  </a:lnTo>
                  <a:lnTo>
                    <a:pt x="325" y="55"/>
                  </a:lnTo>
                  <a:lnTo>
                    <a:pt x="328" y="68"/>
                  </a:lnTo>
                  <a:lnTo>
                    <a:pt x="332" y="82"/>
                  </a:lnTo>
                  <a:lnTo>
                    <a:pt x="337" y="90"/>
                  </a:lnTo>
                  <a:lnTo>
                    <a:pt x="344" y="100"/>
                  </a:lnTo>
                  <a:lnTo>
                    <a:pt x="350" y="109"/>
                  </a:lnTo>
                  <a:lnTo>
                    <a:pt x="353" y="116"/>
                  </a:lnTo>
                  <a:lnTo>
                    <a:pt x="353" y="123"/>
                  </a:lnTo>
                  <a:lnTo>
                    <a:pt x="344" y="124"/>
                  </a:lnTo>
                  <a:lnTo>
                    <a:pt x="337" y="121"/>
                  </a:lnTo>
                  <a:lnTo>
                    <a:pt x="328" y="121"/>
                  </a:lnTo>
                  <a:lnTo>
                    <a:pt x="322" y="120"/>
                  </a:lnTo>
                  <a:lnTo>
                    <a:pt x="318" y="129"/>
                  </a:lnTo>
                  <a:lnTo>
                    <a:pt x="308" y="135"/>
                  </a:lnTo>
                  <a:lnTo>
                    <a:pt x="302" y="136"/>
                  </a:lnTo>
                  <a:lnTo>
                    <a:pt x="290" y="131"/>
                  </a:lnTo>
                  <a:lnTo>
                    <a:pt x="280" y="133"/>
                  </a:lnTo>
                  <a:lnTo>
                    <a:pt x="278" y="143"/>
                  </a:lnTo>
                  <a:lnTo>
                    <a:pt x="272" y="147"/>
                  </a:lnTo>
                  <a:lnTo>
                    <a:pt x="264" y="154"/>
                  </a:lnTo>
                  <a:lnTo>
                    <a:pt x="272" y="161"/>
                  </a:lnTo>
                  <a:lnTo>
                    <a:pt x="277" y="172"/>
                  </a:lnTo>
                  <a:lnTo>
                    <a:pt x="272" y="178"/>
                  </a:lnTo>
                  <a:lnTo>
                    <a:pt x="262" y="183"/>
                  </a:lnTo>
                  <a:lnTo>
                    <a:pt x="254" y="176"/>
                  </a:lnTo>
                  <a:lnTo>
                    <a:pt x="245" y="172"/>
                  </a:lnTo>
                  <a:lnTo>
                    <a:pt x="232" y="175"/>
                  </a:lnTo>
                  <a:lnTo>
                    <a:pt x="231" y="186"/>
                  </a:lnTo>
                  <a:lnTo>
                    <a:pt x="234" y="194"/>
                  </a:lnTo>
                  <a:lnTo>
                    <a:pt x="233" y="203"/>
                  </a:lnTo>
                  <a:lnTo>
                    <a:pt x="235" y="211"/>
                  </a:lnTo>
                  <a:lnTo>
                    <a:pt x="244" y="213"/>
                  </a:lnTo>
                  <a:lnTo>
                    <a:pt x="255" y="217"/>
                  </a:lnTo>
                  <a:lnTo>
                    <a:pt x="262" y="223"/>
                  </a:lnTo>
                  <a:lnTo>
                    <a:pt x="261" y="240"/>
                  </a:lnTo>
                  <a:lnTo>
                    <a:pt x="266" y="248"/>
                  </a:lnTo>
                  <a:lnTo>
                    <a:pt x="277" y="251"/>
                  </a:lnTo>
                  <a:lnTo>
                    <a:pt x="285" y="251"/>
                  </a:lnTo>
                  <a:lnTo>
                    <a:pt x="291" y="257"/>
                  </a:lnTo>
                  <a:lnTo>
                    <a:pt x="298" y="262"/>
                  </a:lnTo>
                  <a:lnTo>
                    <a:pt x="307" y="260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E2E185F1-CCA5-4ABF-BCAA-739FFE542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" y="2217"/>
              <a:ext cx="353" cy="342"/>
            </a:xfrm>
            <a:custGeom>
              <a:avLst/>
              <a:gdLst>
                <a:gd name="T0" fmla="*/ 302 w 353"/>
                <a:gd name="T1" fmla="*/ 271 h 342"/>
                <a:gd name="T2" fmla="*/ 290 w 353"/>
                <a:gd name="T3" fmla="*/ 296 h 342"/>
                <a:gd name="T4" fmla="*/ 326 w 353"/>
                <a:gd name="T5" fmla="*/ 329 h 342"/>
                <a:gd name="T6" fmla="*/ 311 w 353"/>
                <a:gd name="T7" fmla="*/ 336 h 342"/>
                <a:gd name="T8" fmla="*/ 286 w 353"/>
                <a:gd name="T9" fmla="*/ 342 h 342"/>
                <a:gd name="T10" fmla="*/ 266 w 353"/>
                <a:gd name="T11" fmla="*/ 340 h 342"/>
                <a:gd name="T12" fmla="*/ 248 w 353"/>
                <a:gd name="T13" fmla="*/ 321 h 342"/>
                <a:gd name="T14" fmla="*/ 243 w 353"/>
                <a:gd name="T15" fmla="*/ 284 h 342"/>
                <a:gd name="T16" fmla="*/ 218 w 353"/>
                <a:gd name="T17" fmla="*/ 290 h 342"/>
                <a:gd name="T18" fmla="*/ 204 w 353"/>
                <a:gd name="T19" fmla="*/ 292 h 342"/>
                <a:gd name="T20" fmla="*/ 208 w 353"/>
                <a:gd name="T21" fmla="*/ 266 h 342"/>
                <a:gd name="T22" fmla="*/ 191 w 353"/>
                <a:gd name="T23" fmla="*/ 246 h 342"/>
                <a:gd name="T24" fmla="*/ 165 w 353"/>
                <a:gd name="T25" fmla="*/ 240 h 342"/>
                <a:gd name="T26" fmla="*/ 133 w 353"/>
                <a:gd name="T27" fmla="*/ 246 h 342"/>
                <a:gd name="T28" fmla="*/ 122 w 353"/>
                <a:gd name="T29" fmla="*/ 219 h 342"/>
                <a:gd name="T30" fmla="*/ 129 w 353"/>
                <a:gd name="T31" fmla="*/ 199 h 342"/>
                <a:gd name="T32" fmla="*/ 115 w 353"/>
                <a:gd name="T33" fmla="*/ 175 h 342"/>
                <a:gd name="T34" fmla="*/ 84 w 353"/>
                <a:gd name="T35" fmla="*/ 171 h 342"/>
                <a:gd name="T36" fmla="*/ 53 w 353"/>
                <a:gd name="T37" fmla="*/ 163 h 342"/>
                <a:gd name="T38" fmla="*/ 31 w 353"/>
                <a:gd name="T39" fmla="*/ 136 h 342"/>
                <a:gd name="T40" fmla="*/ 6 w 353"/>
                <a:gd name="T41" fmla="*/ 110 h 342"/>
                <a:gd name="T42" fmla="*/ 17 w 353"/>
                <a:gd name="T43" fmla="*/ 95 h 342"/>
                <a:gd name="T44" fmla="*/ 28 w 353"/>
                <a:gd name="T45" fmla="*/ 83 h 342"/>
                <a:gd name="T46" fmla="*/ 47 w 353"/>
                <a:gd name="T47" fmla="*/ 71 h 342"/>
                <a:gd name="T48" fmla="*/ 59 w 353"/>
                <a:gd name="T49" fmla="*/ 56 h 342"/>
                <a:gd name="T50" fmla="*/ 54 w 353"/>
                <a:gd name="T51" fmla="*/ 42 h 342"/>
                <a:gd name="T52" fmla="*/ 72 w 353"/>
                <a:gd name="T53" fmla="*/ 21 h 342"/>
                <a:gd name="T54" fmla="*/ 98 w 353"/>
                <a:gd name="T55" fmla="*/ 21 h 342"/>
                <a:gd name="T56" fmla="*/ 120 w 353"/>
                <a:gd name="T57" fmla="*/ 29 h 342"/>
                <a:gd name="T58" fmla="*/ 144 w 353"/>
                <a:gd name="T59" fmla="*/ 37 h 342"/>
                <a:gd name="T60" fmla="*/ 176 w 353"/>
                <a:gd name="T61" fmla="*/ 44 h 342"/>
                <a:gd name="T62" fmla="*/ 196 w 353"/>
                <a:gd name="T63" fmla="*/ 32 h 342"/>
                <a:gd name="T64" fmla="*/ 228 w 353"/>
                <a:gd name="T65" fmla="*/ 32 h 342"/>
                <a:gd name="T66" fmla="*/ 240 w 353"/>
                <a:gd name="T67" fmla="*/ 12 h 342"/>
                <a:gd name="T68" fmla="*/ 260 w 353"/>
                <a:gd name="T69" fmla="*/ 7 h 342"/>
                <a:gd name="T70" fmla="*/ 291 w 353"/>
                <a:gd name="T71" fmla="*/ 12 h 342"/>
                <a:gd name="T72" fmla="*/ 311 w 353"/>
                <a:gd name="T73" fmla="*/ 29 h 342"/>
                <a:gd name="T74" fmla="*/ 331 w 353"/>
                <a:gd name="T75" fmla="*/ 49 h 342"/>
                <a:gd name="T76" fmla="*/ 332 w 353"/>
                <a:gd name="T77" fmla="*/ 82 h 342"/>
                <a:gd name="T78" fmla="*/ 350 w 353"/>
                <a:gd name="T79" fmla="*/ 109 h 342"/>
                <a:gd name="T80" fmla="*/ 344 w 353"/>
                <a:gd name="T81" fmla="*/ 124 h 342"/>
                <a:gd name="T82" fmla="*/ 322 w 353"/>
                <a:gd name="T83" fmla="*/ 120 h 342"/>
                <a:gd name="T84" fmla="*/ 302 w 353"/>
                <a:gd name="T85" fmla="*/ 136 h 342"/>
                <a:gd name="T86" fmla="*/ 278 w 353"/>
                <a:gd name="T87" fmla="*/ 143 h 342"/>
                <a:gd name="T88" fmla="*/ 272 w 353"/>
                <a:gd name="T89" fmla="*/ 161 h 342"/>
                <a:gd name="T90" fmla="*/ 262 w 353"/>
                <a:gd name="T91" fmla="*/ 183 h 342"/>
                <a:gd name="T92" fmla="*/ 232 w 353"/>
                <a:gd name="T93" fmla="*/ 175 h 342"/>
                <a:gd name="T94" fmla="*/ 233 w 353"/>
                <a:gd name="T95" fmla="*/ 203 h 342"/>
                <a:gd name="T96" fmla="*/ 255 w 353"/>
                <a:gd name="T97" fmla="*/ 217 h 342"/>
                <a:gd name="T98" fmla="*/ 266 w 353"/>
                <a:gd name="T99" fmla="*/ 248 h 342"/>
                <a:gd name="T100" fmla="*/ 291 w 353"/>
                <a:gd name="T101" fmla="*/ 257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3" h="342">
                  <a:moveTo>
                    <a:pt x="307" y="260"/>
                  </a:moveTo>
                  <a:lnTo>
                    <a:pt x="306" y="266"/>
                  </a:lnTo>
                  <a:lnTo>
                    <a:pt x="302" y="271"/>
                  </a:lnTo>
                  <a:lnTo>
                    <a:pt x="300" y="280"/>
                  </a:lnTo>
                  <a:lnTo>
                    <a:pt x="294" y="286"/>
                  </a:lnTo>
                  <a:lnTo>
                    <a:pt x="290" y="296"/>
                  </a:lnTo>
                  <a:lnTo>
                    <a:pt x="302" y="307"/>
                  </a:lnTo>
                  <a:lnTo>
                    <a:pt x="318" y="321"/>
                  </a:lnTo>
                  <a:lnTo>
                    <a:pt x="326" y="329"/>
                  </a:lnTo>
                  <a:lnTo>
                    <a:pt x="324" y="335"/>
                  </a:lnTo>
                  <a:lnTo>
                    <a:pt x="318" y="337"/>
                  </a:lnTo>
                  <a:lnTo>
                    <a:pt x="311" y="336"/>
                  </a:lnTo>
                  <a:lnTo>
                    <a:pt x="304" y="340"/>
                  </a:lnTo>
                  <a:lnTo>
                    <a:pt x="300" y="342"/>
                  </a:lnTo>
                  <a:lnTo>
                    <a:pt x="286" y="342"/>
                  </a:lnTo>
                  <a:lnTo>
                    <a:pt x="281" y="336"/>
                  </a:lnTo>
                  <a:lnTo>
                    <a:pt x="275" y="341"/>
                  </a:lnTo>
                  <a:lnTo>
                    <a:pt x="266" y="340"/>
                  </a:lnTo>
                  <a:lnTo>
                    <a:pt x="256" y="334"/>
                  </a:lnTo>
                  <a:lnTo>
                    <a:pt x="248" y="331"/>
                  </a:lnTo>
                  <a:lnTo>
                    <a:pt x="248" y="321"/>
                  </a:lnTo>
                  <a:lnTo>
                    <a:pt x="246" y="309"/>
                  </a:lnTo>
                  <a:lnTo>
                    <a:pt x="246" y="293"/>
                  </a:lnTo>
                  <a:lnTo>
                    <a:pt x="243" y="284"/>
                  </a:lnTo>
                  <a:lnTo>
                    <a:pt x="230" y="279"/>
                  </a:lnTo>
                  <a:lnTo>
                    <a:pt x="221" y="282"/>
                  </a:lnTo>
                  <a:lnTo>
                    <a:pt x="218" y="290"/>
                  </a:lnTo>
                  <a:lnTo>
                    <a:pt x="215" y="296"/>
                  </a:lnTo>
                  <a:lnTo>
                    <a:pt x="203" y="298"/>
                  </a:lnTo>
                  <a:lnTo>
                    <a:pt x="204" y="292"/>
                  </a:lnTo>
                  <a:lnTo>
                    <a:pt x="207" y="285"/>
                  </a:lnTo>
                  <a:lnTo>
                    <a:pt x="203" y="276"/>
                  </a:lnTo>
                  <a:lnTo>
                    <a:pt x="208" y="266"/>
                  </a:lnTo>
                  <a:lnTo>
                    <a:pt x="207" y="257"/>
                  </a:lnTo>
                  <a:lnTo>
                    <a:pt x="201" y="250"/>
                  </a:lnTo>
                  <a:lnTo>
                    <a:pt x="191" y="246"/>
                  </a:lnTo>
                  <a:lnTo>
                    <a:pt x="181" y="244"/>
                  </a:lnTo>
                  <a:lnTo>
                    <a:pt x="173" y="238"/>
                  </a:lnTo>
                  <a:lnTo>
                    <a:pt x="165" y="240"/>
                  </a:lnTo>
                  <a:lnTo>
                    <a:pt x="154" y="244"/>
                  </a:lnTo>
                  <a:lnTo>
                    <a:pt x="140" y="241"/>
                  </a:lnTo>
                  <a:lnTo>
                    <a:pt x="133" y="246"/>
                  </a:lnTo>
                  <a:lnTo>
                    <a:pt x="123" y="241"/>
                  </a:lnTo>
                  <a:lnTo>
                    <a:pt x="122" y="231"/>
                  </a:lnTo>
                  <a:lnTo>
                    <a:pt x="122" y="219"/>
                  </a:lnTo>
                  <a:lnTo>
                    <a:pt x="129" y="211"/>
                  </a:lnTo>
                  <a:lnTo>
                    <a:pt x="135" y="205"/>
                  </a:lnTo>
                  <a:lnTo>
                    <a:pt x="129" y="199"/>
                  </a:lnTo>
                  <a:lnTo>
                    <a:pt x="117" y="194"/>
                  </a:lnTo>
                  <a:lnTo>
                    <a:pt x="115" y="186"/>
                  </a:lnTo>
                  <a:lnTo>
                    <a:pt x="115" y="175"/>
                  </a:lnTo>
                  <a:lnTo>
                    <a:pt x="110" y="167"/>
                  </a:lnTo>
                  <a:lnTo>
                    <a:pt x="101" y="168"/>
                  </a:lnTo>
                  <a:lnTo>
                    <a:pt x="84" y="171"/>
                  </a:lnTo>
                  <a:lnTo>
                    <a:pt x="72" y="173"/>
                  </a:lnTo>
                  <a:lnTo>
                    <a:pt x="61" y="168"/>
                  </a:lnTo>
                  <a:lnTo>
                    <a:pt x="53" y="163"/>
                  </a:lnTo>
                  <a:lnTo>
                    <a:pt x="48" y="155"/>
                  </a:lnTo>
                  <a:lnTo>
                    <a:pt x="40" y="148"/>
                  </a:lnTo>
                  <a:lnTo>
                    <a:pt x="31" y="136"/>
                  </a:lnTo>
                  <a:lnTo>
                    <a:pt x="25" y="128"/>
                  </a:lnTo>
                  <a:lnTo>
                    <a:pt x="14" y="120"/>
                  </a:lnTo>
                  <a:lnTo>
                    <a:pt x="6" y="110"/>
                  </a:lnTo>
                  <a:lnTo>
                    <a:pt x="0" y="102"/>
                  </a:lnTo>
                  <a:lnTo>
                    <a:pt x="7" y="94"/>
                  </a:lnTo>
                  <a:lnTo>
                    <a:pt x="17" y="95"/>
                  </a:lnTo>
                  <a:lnTo>
                    <a:pt x="25" y="100"/>
                  </a:lnTo>
                  <a:lnTo>
                    <a:pt x="27" y="93"/>
                  </a:lnTo>
                  <a:lnTo>
                    <a:pt x="28" y="83"/>
                  </a:lnTo>
                  <a:lnTo>
                    <a:pt x="40" y="78"/>
                  </a:lnTo>
                  <a:lnTo>
                    <a:pt x="48" y="78"/>
                  </a:lnTo>
                  <a:lnTo>
                    <a:pt x="47" y="71"/>
                  </a:lnTo>
                  <a:lnTo>
                    <a:pt x="49" y="64"/>
                  </a:lnTo>
                  <a:lnTo>
                    <a:pt x="58" y="63"/>
                  </a:lnTo>
                  <a:lnTo>
                    <a:pt x="59" y="56"/>
                  </a:lnTo>
                  <a:lnTo>
                    <a:pt x="49" y="51"/>
                  </a:lnTo>
                  <a:lnTo>
                    <a:pt x="42" y="46"/>
                  </a:lnTo>
                  <a:lnTo>
                    <a:pt x="54" y="42"/>
                  </a:lnTo>
                  <a:lnTo>
                    <a:pt x="61" y="37"/>
                  </a:lnTo>
                  <a:lnTo>
                    <a:pt x="68" y="30"/>
                  </a:lnTo>
                  <a:lnTo>
                    <a:pt x="72" y="21"/>
                  </a:lnTo>
                  <a:lnTo>
                    <a:pt x="83" y="16"/>
                  </a:lnTo>
                  <a:lnTo>
                    <a:pt x="93" y="13"/>
                  </a:lnTo>
                  <a:lnTo>
                    <a:pt x="98" y="21"/>
                  </a:lnTo>
                  <a:lnTo>
                    <a:pt x="105" y="27"/>
                  </a:lnTo>
                  <a:lnTo>
                    <a:pt x="111" y="24"/>
                  </a:lnTo>
                  <a:lnTo>
                    <a:pt x="120" y="29"/>
                  </a:lnTo>
                  <a:lnTo>
                    <a:pt x="123" y="37"/>
                  </a:lnTo>
                  <a:lnTo>
                    <a:pt x="133" y="35"/>
                  </a:lnTo>
                  <a:lnTo>
                    <a:pt x="144" y="37"/>
                  </a:lnTo>
                  <a:lnTo>
                    <a:pt x="156" y="39"/>
                  </a:lnTo>
                  <a:lnTo>
                    <a:pt x="164" y="35"/>
                  </a:lnTo>
                  <a:lnTo>
                    <a:pt x="176" y="44"/>
                  </a:lnTo>
                  <a:lnTo>
                    <a:pt x="187" y="45"/>
                  </a:lnTo>
                  <a:lnTo>
                    <a:pt x="193" y="39"/>
                  </a:lnTo>
                  <a:lnTo>
                    <a:pt x="196" y="32"/>
                  </a:lnTo>
                  <a:lnTo>
                    <a:pt x="203" y="37"/>
                  </a:lnTo>
                  <a:lnTo>
                    <a:pt x="214" y="32"/>
                  </a:lnTo>
                  <a:lnTo>
                    <a:pt x="228" y="32"/>
                  </a:lnTo>
                  <a:lnTo>
                    <a:pt x="239" y="30"/>
                  </a:lnTo>
                  <a:lnTo>
                    <a:pt x="239" y="21"/>
                  </a:lnTo>
                  <a:lnTo>
                    <a:pt x="240" y="12"/>
                  </a:lnTo>
                  <a:lnTo>
                    <a:pt x="241" y="5"/>
                  </a:lnTo>
                  <a:lnTo>
                    <a:pt x="250" y="0"/>
                  </a:lnTo>
                  <a:lnTo>
                    <a:pt x="260" y="7"/>
                  </a:lnTo>
                  <a:lnTo>
                    <a:pt x="272" y="4"/>
                  </a:lnTo>
                  <a:lnTo>
                    <a:pt x="281" y="4"/>
                  </a:lnTo>
                  <a:lnTo>
                    <a:pt x="291" y="12"/>
                  </a:lnTo>
                  <a:lnTo>
                    <a:pt x="302" y="16"/>
                  </a:lnTo>
                  <a:lnTo>
                    <a:pt x="309" y="16"/>
                  </a:lnTo>
                  <a:lnTo>
                    <a:pt x="311" y="29"/>
                  </a:lnTo>
                  <a:lnTo>
                    <a:pt x="312" y="37"/>
                  </a:lnTo>
                  <a:lnTo>
                    <a:pt x="318" y="45"/>
                  </a:lnTo>
                  <a:lnTo>
                    <a:pt x="331" y="49"/>
                  </a:lnTo>
                  <a:lnTo>
                    <a:pt x="325" y="55"/>
                  </a:lnTo>
                  <a:lnTo>
                    <a:pt x="328" y="68"/>
                  </a:lnTo>
                  <a:lnTo>
                    <a:pt x="332" y="82"/>
                  </a:lnTo>
                  <a:lnTo>
                    <a:pt x="337" y="90"/>
                  </a:lnTo>
                  <a:lnTo>
                    <a:pt x="344" y="100"/>
                  </a:lnTo>
                  <a:lnTo>
                    <a:pt x="350" y="109"/>
                  </a:lnTo>
                  <a:lnTo>
                    <a:pt x="353" y="116"/>
                  </a:lnTo>
                  <a:lnTo>
                    <a:pt x="353" y="123"/>
                  </a:lnTo>
                  <a:lnTo>
                    <a:pt x="344" y="124"/>
                  </a:lnTo>
                  <a:lnTo>
                    <a:pt x="337" y="121"/>
                  </a:lnTo>
                  <a:lnTo>
                    <a:pt x="328" y="121"/>
                  </a:lnTo>
                  <a:lnTo>
                    <a:pt x="322" y="120"/>
                  </a:lnTo>
                  <a:lnTo>
                    <a:pt x="318" y="129"/>
                  </a:lnTo>
                  <a:lnTo>
                    <a:pt x="308" y="135"/>
                  </a:lnTo>
                  <a:lnTo>
                    <a:pt x="302" y="136"/>
                  </a:lnTo>
                  <a:lnTo>
                    <a:pt x="290" y="131"/>
                  </a:lnTo>
                  <a:lnTo>
                    <a:pt x="280" y="133"/>
                  </a:lnTo>
                  <a:lnTo>
                    <a:pt x="278" y="143"/>
                  </a:lnTo>
                  <a:lnTo>
                    <a:pt x="272" y="147"/>
                  </a:lnTo>
                  <a:lnTo>
                    <a:pt x="264" y="154"/>
                  </a:lnTo>
                  <a:lnTo>
                    <a:pt x="272" y="161"/>
                  </a:lnTo>
                  <a:lnTo>
                    <a:pt x="277" y="172"/>
                  </a:lnTo>
                  <a:lnTo>
                    <a:pt x="272" y="178"/>
                  </a:lnTo>
                  <a:lnTo>
                    <a:pt x="262" y="183"/>
                  </a:lnTo>
                  <a:lnTo>
                    <a:pt x="254" y="176"/>
                  </a:lnTo>
                  <a:lnTo>
                    <a:pt x="245" y="172"/>
                  </a:lnTo>
                  <a:lnTo>
                    <a:pt x="232" y="175"/>
                  </a:lnTo>
                  <a:lnTo>
                    <a:pt x="231" y="186"/>
                  </a:lnTo>
                  <a:lnTo>
                    <a:pt x="234" y="194"/>
                  </a:lnTo>
                  <a:lnTo>
                    <a:pt x="233" y="203"/>
                  </a:lnTo>
                  <a:lnTo>
                    <a:pt x="235" y="211"/>
                  </a:lnTo>
                  <a:lnTo>
                    <a:pt x="244" y="213"/>
                  </a:lnTo>
                  <a:lnTo>
                    <a:pt x="255" y="217"/>
                  </a:lnTo>
                  <a:lnTo>
                    <a:pt x="262" y="223"/>
                  </a:lnTo>
                  <a:lnTo>
                    <a:pt x="261" y="240"/>
                  </a:lnTo>
                  <a:lnTo>
                    <a:pt x="266" y="248"/>
                  </a:lnTo>
                  <a:lnTo>
                    <a:pt x="277" y="251"/>
                  </a:lnTo>
                  <a:lnTo>
                    <a:pt x="285" y="251"/>
                  </a:lnTo>
                  <a:lnTo>
                    <a:pt x="291" y="257"/>
                  </a:lnTo>
                  <a:lnTo>
                    <a:pt x="298" y="262"/>
                  </a:lnTo>
                  <a:lnTo>
                    <a:pt x="307" y="260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D524F1B8-D0FB-4362-9023-51B1072A8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" y="2314"/>
              <a:ext cx="353" cy="342"/>
            </a:xfrm>
            <a:custGeom>
              <a:avLst/>
              <a:gdLst>
                <a:gd name="T0" fmla="*/ 131 w 353"/>
                <a:gd name="T1" fmla="*/ 0 h 342"/>
                <a:gd name="T2" fmla="*/ 121 w 353"/>
                <a:gd name="T3" fmla="*/ 7 h 342"/>
                <a:gd name="T4" fmla="*/ 109 w 353"/>
                <a:gd name="T5" fmla="*/ 0 h 342"/>
                <a:gd name="T6" fmla="*/ 101 w 353"/>
                <a:gd name="T7" fmla="*/ 7 h 342"/>
                <a:gd name="T8" fmla="*/ 94 w 353"/>
                <a:gd name="T9" fmla="*/ 14 h 342"/>
                <a:gd name="T10" fmla="*/ 84 w 353"/>
                <a:gd name="T11" fmla="*/ 17 h 342"/>
                <a:gd name="T12" fmla="*/ 74 w 353"/>
                <a:gd name="T13" fmla="*/ 26 h 342"/>
                <a:gd name="T14" fmla="*/ 58 w 353"/>
                <a:gd name="T15" fmla="*/ 43 h 342"/>
                <a:gd name="T16" fmla="*/ 47 w 353"/>
                <a:gd name="T17" fmla="*/ 64 h 342"/>
                <a:gd name="T18" fmla="*/ 46 w 353"/>
                <a:gd name="T19" fmla="*/ 82 h 342"/>
                <a:gd name="T20" fmla="*/ 56 w 353"/>
                <a:gd name="T21" fmla="*/ 101 h 342"/>
                <a:gd name="T22" fmla="*/ 67 w 353"/>
                <a:gd name="T23" fmla="*/ 117 h 342"/>
                <a:gd name="T24" fmla="*/ 72 w 353"/>
                <a:gd name="T25" fmla="*/ 125 h 342"/>
                <a:gd name="T26" fmla="*/ 64 w 353"/>
                <a:gd name="T27" fmla="*/ 137 h 342"/>
                <a:gd name="T28" fmla="*/ 49 w 353"/>
                <a:gd name="T29" fmla="*/ 135 h 342"/>
                <a:gd name="T30" fmla="*/ 24 w 353"/>
                <a:gd name="T31" fmla="*/ 132 h 342"/>
                <a:gd name="T32" fmla="*/ 10 w 353"/>
                <a:gd name="T33" fmla="*/ 144 h 342"/>
                <a:gd name="T34" fmla="*/ 0 w 353"/>
                <a:gd name="T35" fmla="*/ 161 h 342"/>
                <a:gd name="T36" fmla="*/ 17 w 353"/>
                <a:gd name="T37" fmla="*/ 175 h 342"/>
                <a:gd name="T38" fmla="*/ 24 w 353"/>
                <a:gd name="T39" fmla="*/ 187 h 342"/>
                <a:gd name="T40" fmla="*/ 43 w 353"/>
                <a:gd name="T41" fmla="*/ 201 h 342"/>
                <a:gd name="T42" fmla="*/ 61 w 353"/>
                <a:gd name="T43" fmla="*/ 213 h 342"/>
                <a:gd name="T44" fmla="*/ 88 w 353"/>
                <a:gd name="T45" fmla="*/ 222 h 342"/>
                <a:gd name="T46" fmla="*/ 105 w 353"/>
                <a:gd name="T47" fmla="*/ 240 h 342"/>
                <a:gd name="T48" fmla="*/ 129 w 353"/>
                <a:gd name="T49" fmla="*/ 248 h 342"/>
                <a:gd name="T50" fmla="*/ 146 w 353"/>
                <a:gd name="T51" fmla="*/ 261 h 342"/>
                <a:gd name="T52" fmla="*/ 180 w 353"/>
                <a:gd name="T53" fmla="*/ 279 h 342"/>
                <a:gd name="T54" fmla="*/ 209 w 353"/>
                <a:gd name="T55" fmla="*/ 282 h 342"/>
                <a:gd name="T56" fmla="*/ 230 w 353"/>
                <a:gd name="T57" fmla="*/ 294 h 342"/>
                <a:gd name="T58" fmla="*/ 248 w 353"/>
                <a:gd name="T59" fmla="*/ 307 h 342"/>
                <a:gd name="T60" fmla="*/ 258 w 353"/>
                <a:gd name="T61" fmla="*/ 329 h 342"/>
                <a:gd name="T62" fmla="*/ 275 w 353"/>
                <a:gd name="T63" fmla="*/ 336 h 342"/>
                <a:gd name="T64" fmla="*/ 296 w 353"/>
                <a:gd name="T65" fmla="*/ 342 h 342"/>
                <a:gd name="T66" fmla="*/ 313 w 353"/>
                <a:gd name="T67" fmla="*/ 340 h 342"/>
                <a:gd name="T68" fmla="*/ 314 w 353"/>
                <a:gd name="T69" fmla="*/ 325 h 342"/>
                <a:gd name="T70" fmla="*/ 311 w 353"/>
                <a:gd name="T71" fmla="*/ 307 h 342"/>
                <a:gd name="T72" fmla="*/ 312 w 353"/>
                <a:gd name="T73" fmla="*/ 298 h 342"/>
                <a:gd name="T74" fmla="*/ 324 w 353"/>
                <a:gd name="T75" fmla="*/ 290 h 342"/>
                <a:gd name="T76" fmla="*/ 318 w 353"/>
                <a:gd name="T77" fmla="*/ 273 h 342"/>
                <a:gd name="T78" fmla="*/ 315 w 353"/>
                <a:gd name="T79" fmla="*/ 261 h 342"/>
                <a:gd name="T80" fmla="*/ 309 w 353"/>
                <a:gd name="T81" fmla="*/ 241 h 342"/>
                <a:gd name="T82" fmla="*/ 311 w 353"/>
                <a:gd name="T83" fmla="*/ 217 h 342"/>
                <a:gd name="T84" fmla="*/ 328 w 353"/>
                <a:gd name="T85" fmla="*/ 208 h 342"/>
                <a:gd name="T86" fmla="*/ 349 w 353"/>
                <a:gd name="T87" fmla="*/ 203 h 342"/>
                <a:gd name="T88" fmla="*/ 352 w 353"/>
                <a:gd name="T89" fmla="*/ 190 h 342"/>
                <a:gd name="T90" fmla="*/ 353 w 353"/>
                <a:gd name="T91" fmla="*/ 171 h 342"/>
                <a:gd name="T92" fmla="*/ 346 w 353"/>
                <a:gd name="T93" fmla="*/ 154 h 342"/>
                <a:gd name="T94" fmla="*/ 327 w 353"/>
                <a:gd name="T95" fmla="*/ 148 h 342"/>
                <a:gd name="T96" fmla="*/ 312 w 353"/>
                <a:gd name="T97" fmla="*/ 144 h 342"/>
                <a:gd name="T98" fmla="*/ 287 w 353"/>
                <a:gd name="T99" fmla="*/ 146 h 342"/>
                <a:gd name="T100" fmla="*/ 270 w 353"/>
                <a:gd name="T101" fmla="*/ 146 h 342"/>
                <a:gd name="T102" fmla="*/ 269 w 353"/>
                <a:gd name="T103" fmla="*/ 123 h 342"/>
                <a:gd name="T104" fmla="*/ 282 w 353"/>
                <a:gd name="T105" fmla="*/ 108 h 342"/>
                <a:gd name="T106" fmla="*/ 264 w 353"/>
                <a:gd name="T107" fmla="*/ 98 h 342"/>
                <a:gd name="T108" fmla="*/ 262 w 353"/>
                <a:gd name="T109" fmla="*/ 78 h 342"/>
                <a:gd name="T110" fmla="*/ 249 w 353"/>
                <a:gd name="T111" fmla="*/ 71 h 342"/>
                <a:gd name="T112" fmla="*/ 220 w 353"/>
                <a:gd name="T113" fmla="*/ 76 h 342"/>
                <a:gd name="T114" fmla="*/ 201 w 353"/>
                <a:gd name="T115" fmla="*/ 66 h 342"/>
                <a:gd name="T116" fmla="*/ 188 w 353"/>
                <a:gd name="T117" fmla="*/ 51 h 342"/>
                <a:gd name="T118" fmla="*/ 174 w 353"/>
                <a:gd name="T119" fmla="*/ 30 h 342"/>
                <a:gd name="T120" fmla="*/ 155 w 353"/>
                <a:gd name="T121" fmla="*/ 12 h 342"/>
                <a:gd name="T122" fmla="*/ 137 w 353"/>
                <a:gd name="T123" fmla="*/ 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42">
                  <a:moveTo>
                    <a:pt x="137" y="6"/>
                  </a:moveTo>
                  <a:lnTo>
                    <a:pt x="131" y="0"/>
                  </a:lnTo>
                  <a:lnTo>
                    <a:pt x="124" y="1"/>
                  </a:lnTo>
                  <a:lnTo>
                    <a:pt x="121" y="7"/>
                  </a:lnTo>
                  <a:lnTo>
                    <a:pt x="113" y="7"/>
                  </a:lnTo>
                  <a:lnTo>
                    <a:pt x="109" y="0"/>
                  </a:lnTo>
                  <a:lnTo>
                    <a:pt x="101" y="3"/>
                  </a:lnTo>
                  <a:lnTo>
                    <a:pt x="101" y="7"/>
                  </a:lnTo>
                  <a:lnTo>
                    <a:pt x="99" y="16"/>
                  </a:lnTo>
                  <a:lnTo>
                    <a:pt x="94" y="14"/>
                  </a:lnTo>
                  <a:lnTo>
                    <a:pt x="90" y="12"/>
                  </a:lnTo>
                  <a:lnTo>
                    <a:pt x="84" y="17"/>
                  </a:lnTo>
                  <a:lnTo>
                    <a:pt x="85" y="24"/>
                  </a:lnTo>
                  <a:lnTo>
                    <a:pt x="74" y="26"/>
                  </a:lnTo>
                  <a:lnTo>
                    <a:pt x="65" y="31"/>
                  </a:lnTo>
                  <a:lnTo>
                    <a:pt x="58" y="43"/>
                  </a:lnTo>
                  <a:lnTo>
                    <a:pt x="51" y="56"/>
                  </a:lnTo>
                  <a:lnTo>
                    <a:pt x="47" y="64"/>
                  </a:lnTo>
                  <a:lnTo>
                    <a:pt x="45" y="77"/>
                  </a:lnTo>
                  <a:lnTo>
                    <a:pt x="46" y="82"/>
                  </a:lnTo>
                  <a:lnTo>
                    <a:pt x="52" y="93"/>
                  </a:lnTo>
                  <a:lnTo>
                    <a:pt x="56" y="101"/>
                  </a:lnTo>
                  <a:lnTo>
                    <a:pt x="64" y="107"/>
                  </a:lnTo>
                  <a:lnTo>
                    <a:pt x="67" y="117"/>
                  </a:lnTo>
                  <a:lnTo>
                    <a:pt x="73" y="119"/>
                  </a:lnTo>
                  <a:lnTo>
                    <a:pt x="72" y="125"/>
                  </a:lnTo>
                  <a:lnTo>
                    <a:pt x="72" y="132"/>
                  </a:lnTo>
                  <a:lnTo>
                    <a:pt x="64" y="137"/>
                  </a:lnTo>
                  <a:lnTo>
                    <a:pt x="58" y="134"/>
                  </a:lnTo>
                  <a:lnTo>
                    <a:pt x="49" y="135"/>
                  </a:lnTo>
                  <a:lnTo>
                    <a:pt x="36" y="132"/>
                  </a:lnTo>
                  <a:lnTo>
                    <a:pt x="24" y="132"/>
                  </a:lnTo>
                  <a:lnTo>
                    <a:pt x="17" y="136"/>
                  </a:lnTo>
                  <a:lnTo>
                    <a:pt x="10" y="144"/>
                  </a:lnTo>
                  <a:lnTo>
                    <a:pt x="2" y="153"/>
                  </a:lnTo>
                  <a:lnTo>
                    <a:pt x="0" y="161"/>
                  </a:lnTo>
                  <a:lnTo>
                    <a:pt x="6" y="171"/>
                  </a:lnTo>
                  <a:lnTo>
                    <a:pt x="17" y="175"/>
                  </a:lnTo>
                  <a:lnTo>
                    <a:pt x="18" y="181"/>
                  </a:lnTo>
                  <a:lnTo>
                    <a:pt x="24" y="187"/>
                  </a:lnTo>
                  <a:lnTo>
                    <a:pt x="36" y="193"/>
                  </a:lnTo>
                  <a:lnTo>
                    <a:pt x="43" y="201"/>
                  </a:lnTo>
                  <a:lnTo>
                    <a:pt x="49" y="207"/>
                  </a:lnTo>
                  <a:lnTo>
                    <a:pt x="61" y="213"/>
                  </a:lnTo>
                  <a:lnTo>
                    <a:pt x="76" y="222"/>
                  </a:lnTo>
                  <a:lnTo>
                    <a:pt x="88" y="222"/>
                  </a:lnTo>
                  <a:lnTo>
                    <a:pt x="94" y="229"/>
                  </a:lnTo>
                  <a:lnTo>
                    <a:pt x="105" y="240"/>
                  </a:lnTo>
                  <a:lnTo>
                    <a:pt x="115" y="246"/>
                  </a:lnTo>
                  <a:lnTo>
                    <a:pt x="129" y="248"/>
                  </a:lnTo>
                  <a:lnTo>
                    <a:pt x="135" y="256"/>
                  </a:lnTo>
                  <a:lnTo>
                    <a:pt x="146" y="261"/>
                  </a:lnTo>
                  <a:lnTo>
                    <a:pt x="160" y="273"/>
                  </a:lnTo>
                  <a:lnTo>
                    <a:pt x="180" y="279"/>
                  </a:lnTo>
                  <a:lnTo>
                    <a:pt x="197" y="278"/>
                  </a:lnTo>
                  <a:lnTo>
                    <a:pt x="209" y="282"/>
                  </a:lnTo>
                  <a:lnTo>
                    <a:pt x="220" y="288"/>
                  </a:lnTo>
                  <a:lnTo>
                    <a:pt x="230" y="294"/>
                  </a:lnTo>
                  <a:lnTo>
                    <a:pt x="239" y="301"/>
                  </a:lnTo>
                  <a:lnTo>
                    <a:pt x="248" y="307"/>
                  </a:lnTo>
                  <a:lnTo>
                    <a:pt x="254" y="319"/>
                  </a:lnTo>
                  <a:lnTo>
                    <a:pt x="258" y="329"/>
                  </a:lnTo>
                  <a:lnTo>
                    <a:pt x="262" y="336"/>
                  </a:lnTo>
                  <a:lnTo>
                    <a:pt x="275" y="336"/>
                  </a:lnTo>
                  <a:lnTo>
                    <a:pt x="286" y="338"/>
                  </a:lnTo>
                  <a:lnTo>
                    <a:pt x="296" y="342"/>
                  </a:lnTo>
                  <a:lnTo>
                    <a:pt x="308" y="337"/>
                  </a:lnTo>
                  <a:lnTo>
                    <a:pt x="313" y="340"/>
                  </a:lnTo>
                  <a:lnTo>
                    <a:pt x="315" y="334"/>
                  </a:lnTo>
                  <a:lnTo>
                    <a:pt x="314" y="325"/>
                  </a:lnTo>
                  <a:lnTo>
                    <a:pt x="311" y="318"/>
                  </a:lnTo>
                  <a:lnTo>
                    <a:pt x="311" y="307"/>
                  </a:lnTo>
                  <a:lnTo>
                    <a:pt x="305" y="301"/>
                  </a:lnTo>
                  <a:lnTo>
                    <a:pt x="312" y="298"/>
                  </a:lnTo>
                  <a:lnTo>
                    <a:pt x="323" y="296"/>
                  </a:lnTo>
                  <a:lnTo>
                    <a:pt x="324" y="290"/>
                  </a:lnTo>
                  <a:lnTo>
                    <a:pt x="320" y="284"/>
                  </a:lnTo>
                  <a:lnTo>
                    <a:pt x="318" y="273"/>
                  </a:lnTo>
                  <a:lnTo>
                    <a:pt x="319" y="265"/>
                  </a:lnTo>
                  <a:lnTo>
                    <a:pt x="315" y="261"/>
                  </a:lnTo>
                  <a:lnTo>
                    <a:pt x="312" y="253"/>
                  </a:lnTo>
                  <a:lnTo>
                    <a:pt x="309" y="241"/>
                  </a:lnTo>
                  <a:lnTo>
                    <a:pt x="309" y="228"/>
                  </a:lnTo>
                  <a:lnTo>
                    <a:pt x="311" y="217"/>
                  </a:lnTo>
                  <a:lnTo>
                    <a:pt x="318" y="211"/>
                  </a:lnTo>
                  <a:lnTo>
                    <a:pt x="328" y="208"/>
                  </a:lnTo>
                  <a:lnTo>
                    <a:pt x="339" y="207"/>
                  </a:lnTo>
                  <a:lnTo>
                    <a:pt x="349" y="203"/>
                  </a:lnTo>
                  <a:lnTo>
                    <a:pt x="350" y="197"/>
                  </a:lnTo>
                  <a:lnTo>
                    <a:pt x="352" y="190"/>
                  </a:lnTo>
                  <a:lnTo>
                    <a:pt x="349" y="181"/>
                  </a:lnTo>
                  <a:lnTo>
                    <a:pt x="353" y="171"/>
                  </a:lnTo>
                  <a:lnTo>
                    <a:pt x="352" y="161"/>
                  </a:lnTo>
                  <a:lnTo>
                    <a:pt x="346" y="154"/>
                  </a:lnTo>
                  <a:lnTo>
                    <a:pt x="337" y="151"/>
                  </a:lnTo>
                  <a:lnTo>
                    <a:pt x="327" y="148"/>
                  </a:lnTo>
                  <a:lnTo>
                    <a:pt x="319" y="142"/>
                  </a:lnTo>
                  <a:lnTo>
                    <a:pt x="312" y="144"/>
                  </a:lnTo>
                  <a:lnTo>
                    <a:pt x="300" y="148"/>
                  </a:lnTo>
                  <a:lnTo>
                    <a:pt x="287" y="146"/>
                  </a:lnTo>
                  <a:lnTo>
                    <a:pt x="280" y="151"/>
                  </a:lnTo>
                  <a:lnTo>
                    <a:pt x="270" y="146"/>
                  </a:lnTo>
                  <a:lnTo>
                    <a:pt x="269" y="135"/>
                  </a:lnTo>
                  <a:lnTo>
                    <a:pt x="269" y="123"/>
                  </a:lnTo>
                  <a:lnTo>
                    <a:pt x="276" y="114"/>
                  </a:lnTo>
                  <a:lnTo>
                    <a:pt x="282" y="108"/>
                  </a:lnTo>
                  <a:lnTo>
                    <a:pt x="276" y="102"/>
                  </a:lnTo>
                  <a:lnTo>
                    <a:pt x="264" y="98"/>
                  </a:lnTo>
                  <a:lnTo>
                    <a:pt x="262" y="89"/>
                  </a:lnTo>
                  <a:lnTo>
                    <a:pt x="262" y="78"/>
                  </a:lnTo>
                  <a:lnTo>
                    <a:pt x="257" y="70"/>
                  </a:lnTo>
                  <a:lnTo>
                    <a:pt x="249" y="71"/>
                  </a:lnTo>
                  <a:lnTo>
                    <a:pt x="232" y="74"/>
                  </a:lnTo>
                  <a:lnTo>
                    <a:pt x="220" y="76"/>
                  </a:lnTo>
                  <a:lnTo>
                    <a:pt x="210" y="71"/>
                  </a:lnTo>
                  <a:lnTo>
                    <a:pt x="201" y="66"/>
                  </a:lnTo>
                  <a:lnTo>
                    <a:pt x="197" y="58"/>
                  </a:lnTo>
                  <a:lnTo>
                    <a:pt x="188" y="51"/>
                  </a:lnTo>
                  <a:lnTo>
                    <a:pt x="180" y="39"/>
                  </a:lnTo>
                  <a:lnTo>
                    <a:pt x="174" y="30"/>
                  </a:lnTo>
                  <a:lnTo>
                    <a:pt x="163" y="22"/>
                  </a:lnTo>
                  <a:lnTo>
                    <a:pt x="155" y="12"/>
                  </a:lnTo>
                  <a:lnTo>
                    <a:pt x="149" y="4"/>
                  </a:lnTo>
                  <a:lnTo>
                    <a:pt x="137" y="6"/>
                  </a:lnTo>
                  <a:close/>
                </a:path>
              </a:pathLst>
            </a:custGeom>
            <a:solidFill>
              <a:srgbClr val="447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DBCF4E45-D006-406B-A2AD-D9DB7C258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" y="2314"/>
              <a:ext cx="353" cy="342"/>
            </a:xfrm>
            <a:custGeom>
              <a:avLst/>
              <a:gdLst>
                <a:gd name="T0" fmla="*/ 131 w 353"/>
                <a:gd name="T1" fmla="*/ 0 h 342"/>
                <a:gd name="T2" fmla="*/ 121 w 353"/>
                <a:gd name="T3" fmla="*/ 7 h 342"/>
                <a:gd name="T4" fmla="*/ 109 w 353"/>
                <a:gd name="T5" fmla="*/ 0 h 342"/>
                <a:gd name="T6" fmla="*/ 101 w 353"/>
                <a:gd name="T7" fmla="*/ 7 h 342"/>
                <a:gd name="T8" fmla="*/ 94 w 353"/>
                <a:gd name="T9" fmla="*/ 14 h 342"/>
                <a:gd name="T10" fmla="*/ 84 w 353"/>
                <a:gd name="T11" fmla="*/ 17 h 342"/>
                <a:gd name="T12" fmla="*/ 74 w 353"/>
                <a:gd name="T13" fmla="*/ 26 h 342"/>
                <a:gd name="T14" fmla="*/ 58 w 353"/>
                <a:gd name="T15" fmla="*/ 43 h 342"/>
                <a:gd name="T16" fmla="*/ 47 w 353"/>
                <a:gd name="T17" fmla="*/ 64 h 342"/>
                <a:gd name="T18" fmla="*/ 46 w 353"/>
                <a:gd name="T19" fmla="*/ 82 h 342"/>
                <a:gd name="T20" fmla="*/ 56 w 353"/>
                <a:gd name="T21" fmla="*/ 101 h 342"/>
                <a:gd name="T22" fmla="*/ 67 w 353"/>
                <a:gd name="T23" fmla="*/ 117 h 342"/>
                <a:gd name="T24" fmla="*/ 72 w 353"/>
                <a:gd name="T25" fmla="*/ 125 h 342"/>
                <a:gd name="T26" fmla="*/ 64 w 353"/>
                <a:gd name="T27" fmla="*/ 137 h 342"/>
                <a:gd name="T28" fmla="*/ 49 w 353"/>
                <a:gd name="T29" fmla="*/ 135 h 342"/>
                <a:gd name="T30" fmla="*/ 24 w 353"/>
                <a:gd name="T31" fmla="*/ 132 h 342"/>
                <a:gd name="T32" fmla="*/ 10 w 353"/>
                <a:gd name="T33" fmla="*/ 144 h 342"/>
                <a:gd name="T34" fmla="*/ 0 w 353"/>
                <a:gd name="T35" fmla="*/ 161 h 342"/>
                <a:gd name="T36" fmla="*/ 17 w 353"/>
                <a:gd name="T37" fmla="*/ 175 h 342"/>
                <a:gd name="T38" fmla="*/ 24 w 353"/>
                <a:gd name="T39" fmla="*/ 187 h 342"/>
                <a:gd name="T40" fmla="*/ 43 w 353"/>
                <a:gd name="T41" fmla="*/ 201 h 342"/>
                <a:gd name="T42" fmla="*/ 61 w 353"/>
                <a:gd name="T43" fmla="*/ 213 h 342"/>
                <a:gd name="T44" fmla="*/ 88 w 353"/>
                <a:gd name="T45" fmla="*/ 222 h 342"/>
                <a:gd name="T46" fmla="*/ 105 w 353"/>
                <a:gd name="T47" fmla="*/ 240 h 342"/>
                <a:gd name="T48" fmla="*/ 129 w 353"/>
                <a:gd name="T49" fmla="*/ 248 h 342"/>
                <a:gd name="T50" fmla="*/ 146 w 353"/>
                <a:gd name="T51" fmla="*/ 261 h 342"/>
                <a:gd name="T52" fmla="*/ 180 w 353"/>
                <a:gd name="T53" fmla="*/ 279 h 342"/>
                <a:gd name="T54" fmla="*/ 209 w 353"/>
                <a:gd name="T55" fmla="*/ 282 h 342"/>
                <a:gd name="T56" fmla="*/ 230 w 353"/>
                <a:gd name="T57" fmla="*/ 294 h 342"/>
                <a:gd name="T58" fmla="*/ 248 w 353"/>
                <a:gd name="T59" fmla="*/ 307 h 342"/>
                <a:gd name="T60" fmla="*/ 258 w 353"/>
                <a:gd name="T61" fmla="*/ 329 h 342"/>
                <a:gd name="T62" fmla="*/ 275 w 353"/>
                <a:gd name="T63" fmla="*/ 336 h 342"/>
                <a:gd name="T64" fmla="*/ 296 w 353"/>
                <a:gd name="T65" fmla="*/ 342 h 342"/>
                <a:gd name="T66" fmla="*/ 313 w 353"/>
                <a:gd name="T67" fmla="*/ 340 h 342"/>
                <a:gd name="T68" fmla="*/ 314 w 353"/>
                <a:gd name="T69" fmla="*/ 325 h 342"/>
                <a:gd name="T70" fmla="*/ 311 w 353"/>
                <a:gd name="T71" fmla="*/ 307 h 342"/>
                <a:gd name="T72" fmla="*/ 312 w 353"/>
                <a:gd name="T73" fmla="*/ 298 h 342"/>
                <a:gd name="T74" fmla="*/ 324 w 353"/>
                <a:gd name="T75" fmla="*/ 290 h 342"/>
                <a:gd name="T76" fmla="*/ 318 w 353"/>
                <a:gd name="T77" fmla="*/ 273 h 342"/>
                <a:gd name="T78" fmla="*/ 315 w 353"/>
                <a:gd name="T79" fmla="*/ 261 h 342"/>
                <a:gd name="T80" fmla="*/ 309 w 353"/>
                <a:gd name="T81" fmla="*/ 241 h 342"/>
                <a:gd name="T82" fmla="*/ 311 w 353"/>
                <a:gd name="T83" fmla="*/ 217 h 342"/>
                <a:gd name="T84" fmla="*/ 328 w 353"/>
                <a:gd name="T85" fmla="*/ 208 h 342"/>
                <a:gd name="T86" fmla="*/ 349 w 353"/>
                <a:gd name="T87" fmla="*/ 203 h 342"/>
                <a:gd name="T88" fmla="*/ 352 w 353"/>
                <a:gd name="T89" fmla="*/ 190 h 342"/>
                <a:gd name="T90" fmla="*/ 353 w 353"/>
                <a:gd name="T91" fmla="*/ 171 h 342"/>
                <a:gd name="T92" fmla="*/ 346 w 353"/>
                <a:gd name="T93" fmla="*/ 154 h 342"/>
                <a:gd name="T94" fmla="*/ 327 w 353"/>
                <a:gd name="T95" fmla="*/ 148 h 342"/>
                <a:gd name="T96" fmla="*/ 312 w 353"/>
                <a:gd name="T97" fmla="*/ 144 h 342"/>
                <a:gd name="T98" fmla="*/ 287 w 353"/>
                <a:gd name="T99" fmla="*/ 146 h 342"/>
                <a:gd name="T100" fmla="*/ 270 w 353"/>
                <a:gd name="T101" fmla="*/ 146 h 342"/>
                <a:gd name="T102" fmla="*/ 269 w 353"/>
                <a:gd name="T103" fmla="*/ 123 h 342"/>
                <a:gd name="T104" fmla="*/ 282 w 353"/>
                <a:gd name="T105" fmla="*/ 108 h 342"/>
                <a:gd name="T106" fmla="*/ 264 w 353"/>
                <a:gd name="T107" fmla="*/ 98 h 342"/>
                <a:gd name="T108" fmla="*/ 262 w 353"/>
                <a:gd name="T109" fmla="*/ 78 h 342"/>
                <a:gd name="T110" fmla="*/ 249 w 353"/>
                <a:gd name="T111" fmla="*/ 71 h 342"/>
                <a:gd name="T112" fmla="*/ 220 w 353"/>
                <a:gd name="T113" fmla="*/ 76 h 342"/>
                <a:gd name="T114" fmla="*/ 201 w 353"/>
                <a:gd name="T115" fmla="*/ 66 h 342"/>
                <a:gd name="T116" fmla="*/ 188 w 353"/>
                <a:gd name="T117" fmla="*/ 51 h 342"/>
                <a:gd name="T118" fmla="*/ 174 w 353"/>
                <a:gd name="T119" fmla="*/ 30 h 342"/>
                <a:gd name="T120" fmla="*/ 155 w 353"/>
                <a:gd name="T121" fmla="*/ 12 h 342"/>
                <a:gd name="T122" fmla="*/ 137 w 353"/>
                <a:gd name="T123" fmla="*/ 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42">
                  <a:moveTo>
                    <a:pt x="137" y="6"/>
                  </a:moveTo>
                  <a:lnTo>
                    <a:pt x="131" y="0"/>
                  </a:lnTo>
                  <a:lnTo>
                    <a:pt x="124" y="1"/>
                  </a:lnTo>
                  <a:lnTo>
                    <a:pt x="121" y="7"/>
                  </a:lnTo>
                  <a:lnTo>
                    <a:pt x="113" y="7"/>
                  </a:lnTo>
                  <a:lnTo>
                    <a:pt x="109" y="0"/>
                  </a:lnTo>
                  <a:lnTo>
                    <a:pt x="101" y="3"/>
                  </a:lnTo>
                  <a:lnTo>
                    <a:pt x="101" y="7"/>
                  </a:lnTo>
                  <a:lnTo>
                    <a:pt x="99" y="16"/>
                  </a:lnTo>
                  <a:lnTo>
                    <a:pt x="94" y="14"/>
                  </a:lnTo>
                  <a:lnTo>
                    <a:pt x="90" y="12"/>
                  </a:lnTo>
                  <a:lnTo>
                    <a:pt x="84" y="17"/>
                  </a:lnTo>
                  <a:lnTo>
                    <a:pt x="85" y="24"/>
                  </a:lnTo>
                  <a:lnTo>
                    <a:pt x="74" y="26"/>
                  </a:lnTo>
                  <a:lnTo>
                    <a:pt x="65" y="31"/>
                  </a:lnTo>
                  <a:lnTo>
                    <a:pt x="58" y="43"/>
                  </a:lnTo>
                  <a:lnTo>
                    <a:pt x="51" y="56"/>
                  </a:lnTo>
                  <a:lnTo>
                    <a:pt x="47" y="64"/>
                  </a:lnTo>
                  <a:lnTo>
                    <a:pt x="45" y="77"/>
                  </a:lnTo>
                  <a:lnTo>
                    <a:pt x="46" y="82"/>
                  </a:lnTo>
                  <a:lnTo>
                    <a:pt x="52" y="93"/>
                  </a:lnTo>
                  <a:lnTo>
                    <a:pt x="56" y="101"/>
                  </a:lnTo>
                  <a:lnTo>
                    <a:pt x="64" y="107"/>
                  </a:lnTo>
                  <a:lnTo>
                    <a:pt x="67" y="117"/>
                  </a:lnTo>
                  <a:lnTo>
                    <a:pt x="73" y="119"/>
                  </a:lnTo>
                  <a:lnTo>
                    <a:pt x="72" y="125"/>
                  </a:lnTo>
                  <a:lnTo>
                    <a:pt x="72" y="132"/>
                  </a:lnTo>
                  <a:lnTo>
                    <a:pt x="64" y="137"/>
                  </a:lnTo>
                  <a:lnTo>
                    <a:pt x="58" y="134"/>
                  </a:lnTo>
                  <a:lnTo>
                    <a:pt x="49" y="135"/>
                  </a:lnTo>
                  <a:lnTo>
                    <a:pt x="36" y="132"/>
                  </a:lnTo>
                  <a:lnTo>
                    <a:pt x="24" y="132"/>
                  </a:lnTo>
                  <a:lnTo>
                    <a:pt x="17" y="136"/>
                  </a:lnTo>
                  <a:lnTo>
                    <a:pt x="10" y="144"/>
                  </a:lnTo>
                  <a:lnTo>
                    <a:pt x="2" y="153"/>
                  </a:lnTo>
                  <a:lnTo>
                    <a:pt x="0" y="161"/>
                  </a:lnTo>
                  <a:lnTo>
                    <a:pt x="6" y="171"/>
                  </a:lnTo>
                  <a:lnTo>
                    <a:pt x="17" y="175"/>
                  </a:lnTo>
                  <a:lnTo>
                    <a:pt x="18" y="181"/>
                  </a:lnTo>
                  <a:lnTo>
                    <a:pt x="24" y="187"/>
                  </a:lnTo>
                  <a:lnTo>
                    <a:pt x="36" y="193"/>
                  </a:lnTo>
                  <a:lnTo>
                    <a:pt x="43" y="201"/>
                  </a:lnTo>
                  <a:lnTo>
                    <a:pt x="49" y="207"/>
                  </a:lnTo>
                  <a:lnTo>
                    <a:pt x="61" y="213"/>
                  </a:lnTo>
                  <a:lnTo>
                    <a:pt x="76" y="222"/>
                  </a:lnTo>
                  <a:lnTo>
                    <a:pt x="88" y="222"/>
                  </a:lnTo>
                  <a:lnTo>
                    <a:pt x="94" y="229"/>
                  </a:lnTo>
                  <a:lnTo>
                    <a:pt x="105" y="240"/>
                  </a:lnTo>
                  <a:lnTo>
                    <a:pt x="115" y="246"/>
                  </a:lnTo>
                  <a:lnTo>
                    <a:pt x="129" y="248"/>
                  </a:lnTo>
                  <a:lnTo>
                    <a:pt x="135" y="256"/>
                  </a:lnTo>
                  <a:lnTo>
                    <a:pt x="146" y="261"/>
                  </a:lnTo>
                  <a:lnTo>
                    <a:pt x="160" y="273"/>
                  </a:lnTo>
                  <a:lnTo>
                    <a:pt x="180" y="279"/>
                  </a:lnTo>
                  <a:lnTo>
                    <a:pt x="197" y="278"/>
                  </a:lnTo>
                  <a:lnTo>
                    <a:pt x="209" y="282"/>
                  </a:lnTo>
                  <a:lnTo>
                    <a:pt x="220" y="288"/>
                  </a:lnTo>
                  <a:lnTo>
                    <a:pt x="230" y="294"/>
                  </a:lnTo>
                  <a:lnTo>
                    <a:pt x="239" y="301"/>
                  </a:lnTo>
                  <a:lnTo>
                    <a:pt x="248" y="307"/>
                  </a:lnTo>
                  <a:lnTo>
                    <a:pt x="254" y="319"/>
                  </a:lnTo>
                  <a:lnTo>
                    <a:pt x="258" y="329"/>
                  </a:lnTo>
                  <a:lnTo>
                    <a:pt x="262" y="336"/>
                  </a:lnTo>
                  <a:lnTo>
                    <a:pt x="275" y="336"/>
                  </a:lnTo>
                  <a:lnTo>
                    <a:pt x="286" y="338"/>
                  </a:lnTo>
                  <a:lnTo>
                    <a:pt x="296" y="342"/>
                  </a:lnTo>
                  <a:lnTo>
                    <a:pt x="308" y="337"/>
                  </a:lnTo>
                  <a:lnTo>
                    <a:pt x="313" y="340"/>
                  </a:lnTo>
                  <a:lnTo>
                    <a:pt x="315" y="334"/>
                  </a:lnTo>
                  <a:lnTo>
                    <a:pt x="314" y="325"/>
                  </a:lnTo>
                  <a:lnTo>
                    <a:pt x="311" y="318"/>
                  </a:lnTo>
                  <a:lnTo>
                    <a:pt x="311" y="307"/>
                  </a:lnTo>
                  <a:lnTo>
                    <a:pt x="305" y="301"/>
                  </a:lnTo>
                  <a:lnTo>
                    <a:pt x="312" y="298"/>
                  </a:lnTo>
                  <a:lnTo>
                    <a:pt x="323" y="296"/>
                  </a:lnTo>
                  <a:lnTo>
                    <a:pt x="324" y="290"/>
                  </a:lnTo>
                  <a:lnTo>
                    <a:pt x="320" y="284"/>
                  </a:lnTo>
                  <a:lnTo>
                    <a:pt x="318" y="273"/>
                  </a:lnTo>
                  <a:lnTo>
                    <a:pt x="319" y="265"/>
                  </a:lnTo>
                  <a:lnTo>
                    <a:pt x="315" y="261"/>
                  </a:lnTo>
                  <a:lnTo>
                    <a:pt x="312" y="253"/>
                  </a:lnTo>
                  <a:lnTo>
                    <a:pt x="309" y="241"/>
                  </a:lnTo>
                  <a:lnTo>
                    <a:pt x="309" y="228"/>
                  </a:lnTo>
                  <a:lnTo>
                    <a:pt x="311" y="217"/>
                  </a:lnTo>
                  <a:lnTo>
                    <a:pt x="318" y="211"/>
                  </a:lnTo>
                  <a:lnTo>
                    <a:pt x="328" y="208"/>
                  </a:lnTo>
                  <a:lnTo>
                    <a:pt x="339" y="207"/>
                  </a:lnTo>
                  <a:lnTo>
                    <a:pt x="349" y="203"/>
                  </a:lnTo>
                  <a:lnTo>
                    <a:pt x="350" y="197"/>
                  </a:lnTo>
                  <a:lnTo>
                    <a:pt x="352" y="190"/>
                  </a:lnTo>
                  <a:lnTo>
                    <a:pt x="349" y="181"/>
                  </a:lnTo>
                  <a:lnTo>
                    <a:pt x="353" y="171"/>
                  </a:lnTo>
                  <a:lnTo>
                    <a:pt x="352" y="161"/>
                  </a:lnTo>
                  <a:lnTo>
                    <a:pt x="346" y="154"/>
                  </a:lnTo>
                  <a:lnTo>
                    <a:pt x="337" y="151"/>
                  </a:lnTo>
                  <a:lnTo>
                    <a:pt x="327" y="148"/>
                  </a:lnTo>
                  <a:lnTo>
                    <a:pt x="319" y="142"/>
                  </a:lnTo>
                  <a:lnTo>
                    <a:pt x="312" y="144"/>
                  </a:lnTo>
                  <a:lnTo>
                    <a:pt x="300" y="148"/>
                  </a:lnTo>
                  <a:lnTo>
                    <a:pt x="287" y="146"/>
                  </a:lnTo>
                  <a:lnTo>
                    <a:pt x="280" y="151"/>
                  </a:lnTo>
                  <a:lnTo>
                    <a:pt x="270" y="146"/>
                  </a:lnTo>
                  <a:lnTo>
                    <a:pt x="269" y="135"/>
                  </a:lnTo>
                  <a:lnTo>
                    <a:pt x="269" y="123"/>
                  </a:lnTo>
                  <a:lnTo>
                    <a:pt x="276" y="114"/>
                  </a:lnTo>
                  <a:lnTo>
                    <a:pt x="282" y="108"/>
                  </a:lnTo>
                  <a:lnTo>
                    <a:pt x="276" y="102"/>
                  </a:lnTo>
                  <a:lnTo>
                    <a:pt x="264" y="98"/>
                  </a:lnTo>
                  <a:lnTo>
                    <a:pt x="262" y="89"/>
                  </a:lnTo>
                  <a:lnTo>
                    <a:pt x="262" y="78"/>
                  </a:lnTo>
                  <a:lnTo>
                    <a:pt x="257" y="70"/>
                  </a:lnTo>
                  <a:lnTo>
                    <a:pt x="249" y="71"/>
                  </a:lnTo>
                  <a:lnTo>
                    <a:pt x="232" y="74"/>
                  </a:lnTo>
                  <a:lnTo>
                    <a:pt x="220" y="76"/>
                  </a:lnTo>
                  <a:lnTo>
                    <a:pt x="210" y="71"/>
                  </a:lnTo>
                  <a:lnTo>
                    <a:pt x="201" y="66"/>
                  </a:lnTo>
                  <a:lnTo>
                    <a:pt x="197" y="58"/>
                  </a:lnTo>
                  <a:lnTo>
                    <a:pt x="188" y="51"/>
                  </a:lnTo>
                  <a:lnTo>
                    <a:pt x="180" y="39"/>
                  </a:lnTo>
                  <a:lnTo>
                    <a:pt x="174" y="30"/>
                  </a:lnTo>
                  <a:lnTo>
                    <a:pt x="163" y="22"/>
                  </a:lnTo>
                  <a:lnTo>
                    <a:pt x="155" y="12"/>
                  </a:lnTo>
                  <a:lnTo>
                    <a:pt x="149" y="4"/>
                  </a:lnTo>
                  <a:lnTo>
                    <a:pt x="137" y="6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4020815D-E9A2-457B-B2A1-E59D26C7C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" y="2498"/>
              <a:ext cx="527" cy="280"/>
            </a:xfrm>
            <a:custGeom>
              <a:avLst/>
              <a:gdLst>
                <a:gd name="T0" fmla="*/ 32 w 527"/>
                <a:gd name="T1" fmla="*/ 165 h 280"/>
                <a:gd name="T2" fmla="*/ 55 w 527"/>
                <a:gd name="T3" fmla="*/ 171 h 280"/>
                <a:gd name="T4" fmla="*/ 76 w 527"/>
                <a:gd name="T5" fmla="*/ 166 h 280"/>
                <a:gd name="T6" fmla="*/ 100 w 527"/>
                <a:gd name="T7" fmla="*/ 171 h 280"/>
                <a:gd name="T8" fmla="*/ 119 w 527"/>
                <a:gd name="T9" fmla="*/ 148 h 280"/>
                <a:gd name="T10" fmla="*/ 133 w 527"/>
                <a:gd name="T11" fmla="*/ 141 h 280"/>
                <a:gd name="T12" fmla="*/ 158 w 527"/>
                <a:gd name="T13" fmla="*/ 149 h 280"/>
                <a:gd name="T14" fmla="*/ 180 w 527"/>
                <a:gd name="T15" fmla="*/ 166 h 280"/>
                <a:gd name="T16" fmla="*/ 205 w 527"/>
                <a:gd name="T17" fmla="*/ 185 h 280"/>
                <a:gd name="T18" fmla="*/ 256 w 527"/>
                <a:gd name="T19" fmla="*/ 206 h 280"/>
                <a:gd name="T20" fmla="*/ 284 w 527"/>
                <a:gd name="T21" fmla="*/ 212 h 280"/>
                <a:gd name="T22" fmla="*/ 315 w 527"/>
                <a:gd name="T23" fmla="*/ 209 h 280"/>
                <a:gd name="T24" fmla="*/ 334 w 527"/>
                <a:gd name="T25" fmla="*/ 213 h 280"/>
                <a:gd name="T26" fmla="*/ 358 w 527"/>
                <a:gd name="T27" fmla="*/ 230 h 280"/>
                <a:gd name="T28" fmla="*/ 384 w 527"/>
                <a:gd name="T29" fmla="*/ 231 h 280"/>
                <a:gd name="T30" fmla="*/ 402 w 527"/>
                <a:gd name="T31" fmla="*/ 253 h 280"/>
                <a:gd name="T32" fmla="*/ 423 w 527"/>
                <a:gd name="T33" fmla="*/ 266 h 280"/>
                <a:gd name="T34" fmla="*/ 446 w 527"/>
                <a:gd name="T35" fmla="*/ 280 h 280"/>
                <a:gd name="T36" fmla="*/ 503 w 527"/>
                <a:gd name="T37" fmla="*/ 246 h 280"/>
                <a:gd name="T38" fmla="*/ 484 w 527"/>
                <a:gd name="T39" fmla="*/ 231 h 280"/>
                <a:gd name="T40" fmla="*/ 467 w 527"/>
                <a:gd name="T41" fmla="*/ 231 h 280"/>
                <a:gd name="T42" fmla="*/ 447 w 527"/>
                <a:gd name="T43" fmla="*/ 214 h 280"/>
                <a:gd name="T44" fmla="*/ 428 w 527"/>
                <a:gd name="T45" fmla="*/ 218 h 280"/>
                <a:gd name="T46" fmla="*/ 409 w 527"/>
                <a:gd name="T47" fmla="*/ 215 h 280"/>
                <a:gd name="T48" fmla="*/ 399 w 527"/>
                <a:gd name="T49" fmla="*/ 201 h 280"/>
                <a:gd name="T50" fmla="*/ 396 w 527"/>
                <a:gd name="T51" fmla="*/ 187 h 280"/>
                <a:gd name="T52" fmla="*/ 379 w 527"/>
                <a:gd name="T53" fmla="*/ 168 h 280"/>
                <a:gd name="T54" fmla="*/ 348 w 527"/>
                <a:gd name="T55" fmla="*/ 167 h 280"/>
                <a:gd name="T56" fmla="*/ 345 w 527"/>
                <a:gd name="T57" fmla="*/ 144 h 280"/>
                <a:gd name="T58" fmla="*/ 329 w 527"/>
                <a:gd name="T59" fmla="*/ 132 h 280"/>
                <a:gd name="T60" fmla="*/ 312 w 527"/>
                <a:gd name="T61" fmla="*/ 130 h 280"/>
                <a:gd name="T62" fmla="*/ 308 w 527"/>
                <a:gd name="T63" fmla="*/ 113 h 280"/>
                <a:gd name="T64" fmla="*/ 302 w 527"/>
                <a:gd name="T65" fmla="*/ 97 h 280"/>
                <a:gd name="T66" fmla="*/ 271 w 527"/>
                <a:gd name="T67" fmla="*/ 92 h 280"/>
                <a:gd name="T68" fmla="*/ 250 w 527"/>
                <a:gd name="T69" fmla="*/ 79 h 280"/>
                <a:gd name="T70" fmla="*/ 226 w 527"/>
                <a:gd name="T71" fmla="*/ 78 h 280"/>
                <a:gd name="T72" fmla="*/ 202 w 527"/>
                <a:gd name="T73" fmla="*/ 76 h 280"/>
                <a:gd name="T74" fmla="*/ 190 w 527"/>
                <a:gd name="T75" fmla="*/ 55 h 280"/>
                <a:gd name="T76" fmla="*/ 167 w 527"/>
                <a:gd name="T77" fmla="*/ 50 h 280"/>
                <a:gd name="T78" fmla="*/ 151 w 527"/>
                <a:gd name="T79" fmla="*/ 58 h 280"/>
                <a:gd name="T80" fmla="*/ 127 w 527"/>
                <a:gd name="T81" fmla="*/ 63 h 280"/>
                <a:gd name="T82" fmla="*/ 107 w 527"/>
                <a:gd name="T83" fmla="*/ 61 h 280"/>
                <a:gd name="T84" fmla="*/ 89 w 527"/>
                <a:gd name="T85" fmla="*/ 42 h 280"/>
                <a:gd name="T86" fmla="*/ 84 w 527"/>
                <a:gd name="T87" fmla="*/ 4 h 280"/>
                <a:gd name="T88" fmla="*/ 60 w 527"/>
                <a:gd name="T89" fmla="*/ 11 h 280"/>
                <a:gd name="T90" fmla="*/ 35 w 527"/>
                <a:gd name="T91" fmla="*/ 23 h 280"/>
                <a:gd name="T92" fmla="*/ 6 w 527"/>
                <a:gd name="T93" fmla="*/ 32 h 280"/>
                <a:gd name="T94" fmla="*/ 8 w 527"/>
                <a:gd name="T95" fmla="*/ 69 h 280"/>
                <a:gd name="T96" fmla="*/ 14 w 527"/>
                <a:gd name="T97" fmla="*/ 89 h 280"/>
                <a:gd name="T98" fmla="*/ 19 w 527"/>
                <a:gd name="T99" fmla="*/ 112 h 280"/>
                <a:gd name="T100" fmla="*/ 6 w 527"/>
                <a:gd name="T101" fmla="*/ 123 h 280"/>
                <a:gd name="T102" fmla="*/ 11 w 527"/>
                <a:gd name="T103" fmla="*/ 149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27" h="280">
                  <a:moveTo>
                    <a:pt x="14" y="161"/>
                  </a:moveTo>
                  <a:lnTo>
                    <a:pt x="22" y="164"/>
                  </a:lnTo>
                  <a:lnTo>
                    <a:pt x="32" y="165"/>
                  </a:lnTo>
                  <a:lnTo>
                    <a:pt x="39" y="170"/>
                  </a:lnTo>
                  <a:lnTo>
                    <a:pt x="46" y="171"/>
                  </a:lnTo>
                  <a:lnTo>
                    <a:pt x="55" y="171"/>
                  </a:lnTo>
                  <a:lnTo>
                    <a:pt x="65" y="173"/>
                  </a:lnTo>
                  <a:lnTo>
                    <a:pt x="63" y="166"/>
                  </a:lnTo>
                  <a:lnTo>
                    <a:pt x="76" y="166"/>
                  </a:lnTo>
                  <a:lnTo>
                    <a:pt x="84" y="170"/>
                  </a:lnTo>
                  <a:lnTo>
                    <a:pt x="91" y="176"/>
                  </a:lnTo>
                  <a:lnTo>
                    <a:pt x="100" y="171"/>
                  </a:lnTo>
                  <a:lnTo>
                    <a:pt x="108" y="170"/>
                  </a:lnTo>
                  <a:lnTo>
                    <a:pt x="118" y="170"/>
                  </a:lnTo>
                  <a:lnTo>
                    <a:pt x="119" y="148"/>
                  </a:lnTo>
                  <a:lnTo>
                    <a:pt x="127" y="149"/>
                  </a:lnTo>
                  <a:lnTo>
                    <a:pt x="128" y="144"/>
                  </a:lnTo>
                  <a:lnTo>
                    <a:pt x="133" y="141"/>
                  </a:lnTo>
                  <a:lnTo>
                    <a:pt x="144" y="147"/>
                  </a:lnTo>
                  <a:lnTo>
                    <a:pt x="152" y="151"/>
                  </a:lnTo>
                  <a:lnTo>
                    <a:pt x="158" y="149"/>
                  </a:lnTo>
                  <a:lnTo>
                    <a:pt x="165" y="156"/>
                  </a:lnTo>
                  <a:lnTo>
                    <a:pt x="174" y="158"/>
                  </a:lnTo>
                  <a:lnTo>
                    <a:pt x="180" y="166"/>
                  </a:lnTo>
                  <a:lnTo>
                    <a:pt x="187" y="172"/>
                  </a:lnTo>
                  <a:lnTo>
                    <a:pt x="193" y="181"/>
                  </a:lnTo>
                  <a:lnTo>
                    <a:pt x="205" y="185"/>
                  </a:lnTo>
                  <a:lnTo>
                    <a:pt x="223" y="196"/>
                  </a:lnTo>
                  <a:lnTo>
                    <a:pt x="244" y="194"/>
                  </a:lnTo>
                  <a:lnTo>
                    <a:pt x="256" y="206"/>
                  </a:lnTo>
                  <a:lnTo>
                    <a:pt x="266" y="207"/>
                  </a:lnTo>
                  <a:lnTo>
                    <a:pt x="277" y="212"/>
                  </a:lnTo>
                  <a:lnTo>
                    <a:pt x="284" y="212"/>
                  </a:lnTo>
                  <a:lnTo>
                    <a:pt x="292" y="215"/>
                  </a:lnTo>
                  <a:lnTo>
                    <a:pt x="303" y="215"/>
                  </a:lnTo>
                  <a:lnTo>
                    <a:pt x="315" y="209"/>
                  </a:lnTo>
                  <a:lnTo>
                    <a:pt x="322" y="213"/>
                  </a:lnTo>
                  <a:lnTo>
                    <a:pt x="329" y="214"/>
                  </a:lnTo>
                  <a:lnTo>
                    <a:pt x="334" y="213"/>
                  </a:lnTo>
                  <a:lnTo>
                    <a:pt x="343" y="220"/>
                  </a:lnTo>
                  <a:lnTo>
                    <a:pt x="349" y="227"/>
                  </a:lnTo>
                  <a:lnTo>
                    <a:pt x="358" y="230"/>
                  </a:lnTo>
                  <a:lnTo>
                    <a:pt x="368" y="233"/>
                  </a:lnTo>
                  <a:lnTo>
                    <a:pt x="377" y="224"/>
                  </a:lnTo>
                  <a:lnTo>
                    <a:pt x="384" y="231"/>
                  </a:lnTo>
                  <a:lnTo>
                    <a:pt x="389" y="242"/>
                  </a:lnTo>
                  <a:lnTo>
                    <a:pt x="394" y="248"/>
                  </a:lnTo>
                  <a:lnTo>
                    <a:pt x="402" y="253"/>
                  </a:lnTo>
                  <a:lnTo>
                    <a:pt x="409" y="254"/>
                  </a:lnTo>
                  <a:lnTo>
                    <a:pt x="417" y="260"/>
                  </a:lnTo>
                  <a:lnTo>
                    <a:pt x="423" y="266"/>
                  </a:lnTo>
                  <a:lnTo>
                    <a:pt x="432" y="268"/>
                  </a:lnTo>
                  <a:lnTo>
                    <a:pt x="441" y="273"/>
                  </a:lnTo>
                  <a:lnTo>
                    <a:pt x="446" y="280"/>
                  </a:lnTo>
                  <a:lnTo>
                    <a:pt x="527" y="253"/>
                  </a:lnTo>
                  <a:lnTo>
                    <a:pt x="514" y="249"/>
                  </a:lnTo>
                  <a:lnTo>
                    <a:pt x="503" y="246"/>
                  </a:lnTo>
                  <a:lnTo>
                    <a:pt x="497" y="240"/>
                  </a:lnTo>
                  <a:lnTo>
                    <a:pt x="493" y="236"/>
                  </a:lnTo>
                  <a:lnTo>
                    <a:pt x="484" y="231"/>
                  </a:lnTo>
                  <a:lnTo>
                    <a:pt x="478" y="236"/>
                  </a:lnTo>
                  <a:lnTo>
                    <a:pt x="474" y="230"/>
                  </a:lnTo>
                  <a:lnTo>
                    <a:pt x="467" y="231"/>
                  </a:lnTo>
                  <a:lnTo>
                    <a:pt x="458" y="226"/>
                  </a:lnTo>
                  <a:lnTo>
                    <a:pt x="462" y="220"/>
                  </a:lnTo>
                  <a:lnTo>
                    <a:pt x="447" y="214"/>
                  </a:lnTo>
                  <a:lnTo>
                    <a:pt x="439" y="215"/>
                  </a:lnTo>
                  <a:lnTo>
                    <a:pt x="434" y="212"/>
                  </a:lnTo>
                  <a:lnTo>
                    <a:pt x="428" y="218"/>
                  </a:lnTo>
                  <a:lnTo>
                    <a:pt x="423" y="214"/>
                  </a:lnTo>
                  <a:lnTo>
                    <a:pt x="415" y="219"/>
                  </a:lnTo>
                  <a:lnTo>
                    <a:pt x="409" y="215"/>
                  </a:lnTo>
                  <a:lnTo>
                    <a:pt x="407" y="208"/>
                  </a:lnTo>
                  <a:lnTo>
                    <a:pt x="399" y="208"/>
                  </a:lnTo>
                  <a:lnTo>
                    <a:pt x="399" y="201"/>
                  </a:lnTo>
                  <a:lnTo>
                    <a:pt x="394" y="196"/>
                  </a:lnTo>
                  <a:lnTo>
                    <a:pt x="392" y="189"/>
                  </a:lnTo>
                  <a:lnTo>
                    <a:pt x="396" y="187"/>
                  </a:lnTo>
                  <a:lnTo>
                    <a:pt x="395" y="177"/>
                  </a:lnTo>
                  <a:lnTo>
                    <a:pt x="388" y="171"/>
                  </a:lnTo>
                  <a:lnTo>
                    <a:pt x="379" y="168"/>
                  </a:lnTo>
                  <a:lnTo>
                    <a:pt x="366" y="168"/>
                  </a:lnTo>
                  <a:lnTo>
                    <a:pt x="355" y="162"/>
                  </a:lnTo>
                  <a:lnTo>
                    <a:pt x="348" y="167"/>
                  </a:lnTo>
                  <a:lnTo>
                    <a:pt x="345" y="161"/>
                  </a:lnTo>
                  <a:lnTo>
                    <a:pt x="341" y="153"/>
                  </a:lnTo>
                  <a:lnTo>
                    <a:pt x="345" y="144"/>
                  </a:lnTo>
                  <a:lnTo>
                    <a:pt x="343" y="136"/>
                  </a:lnTo>
                  <a:lnTo>
                    <a:pt x="336" y="130"/>
                  </a:lnTo>
                  <a:lnTo>
                    <a:pt x="329" y="132"/>
                  </a:lnTo>
                  <a:lnTo>
                    <a:pt x="326" y="125"/>
                  </a:lnTo>
                  <a:lnTo>
                    <a:pt x="321" y="126"/>
                  </a:lnTo>
                  <a:lnTo>
                    <a:pt x="312" y="130"/>
                  </a:lnTo>
                  <a:lnTo>
                    <a:pt x="304" y="126"/>
                  </a:lnTo>
                  <a:lnTo>
                    <a:pt x="304" y="120"/>
                  </a:lnTo>
                  <a:lnTo>
                    <a:pt x="308" y="113"/>
                  </a:lnTo>
                  <a:lnTo>
                    <a:pt x="305" y="107"/>
                  </a:lnTo>
                  <a:lnTo>
                    <a:pt x="297" y="105"/>
                  </a:lnTo>
                  <a:lnTo>
                    <a:pt x="302" y="97"/>
                  </a:lnTo>
                  <a:lnTo>
                    <a:pt x="287" y="89"/>
                  </a:lnTo>
                  <a:lnTo>
                    <a:pt x="280" y="90"/>
                  </a:lnTo>
                  <a:lnTo>
                    <a:pt x="271" y="92"/>
                  </a:lnTo>
                  <a:lnTo>
                    <a:pt x="264" y="86"/>
                  </a:lnTo>
                  <a:lnTo>
                    <a:pt x="255" y="88"/>
                  </a:lnTo>
                  <a:lnTo>
                    <a:pt x="250" y="79"/>
                  </a:lnTo>
                  <a:lnTo>
                    <a:pt x="242" y="82"/>
                  </a:lnTo>
                  <a:lnTo>
                    <a:pt x="235" y="76"/>
                  </a:lnTo>
                  <a:lnTo>
                    <a:pt x="226" y="78"/>
                  </a:lnTo>
                  <a:lnTo>
                    <a:pt x="216" y="80"/>
                  </a:lnTo>
                  <a:lnTo>
                    <a:pt x="211" y="72"/>
                  </a:lnTo>
                  <a:lnTo>
                    <a:pt x="202" y="76"/>
                  </a:lnTo>
                  <a:lnTo>
                    <a:pt x="195" y="67"/>
                  </a:lnTo>
                  <a:lnTo>
                    <a:pt x="190" y="63"/>
                  </a:lnTo>
                  <a:lnTo>
                    <a:pt x="190" y="55"/>
                  </a:lnTo>
                  <a:lnTo>
                    <a:pt x="182" y="50"/>
                  </a:lnTo>
                  <a:lnTo>
                    <a:pt x="176" y="52"/>
                  </a:lnTo>
                  <a:lnTo>
                    <a:pt x="167" y="50"/>
                  </a:lnTo>
                  <a:lnTo>
                    <a:pt x="164" y="56"/>
                  </a:lnTo>
                  <a:lnTo>
                    <a:pt x="158" y="59"/>
                  </a:lnTo>
                  <a:lnTo>
                    <a:pt x="151" y="58"/>
                  </a:lnTo>
                  <a:lnTo>
                    <a:pt x="145" y="61"/>
                  </a:lnTo>
                  <a:lnTo>
                    <a:pt x="140" y="63"/>
                  </a:lnTo>
                  <a:lnTo>
                    <a:pt x="127" y="63"/>
                  </a:lnTo>
                  <a:lnTo>
                    <a:pt x="122" y="58"/>
                  </a:lnTo>
                  <a:lnTo>
                    <a:pt x="116" y="63"/>
                  </a:lnTo>
                  <a:lnTo>
                    <a:pt x="107" y="61"/>
                  </a:lnTo>
                  <a:lnTo>
                    <a:pt x="97" y="55"/>
                  </a:lnTo>
                  <a:lnTo>
                    <a:pt x="89" y="53"/>
                  </a:lnTo>
                  <a:lnTo>
                    <a:pt x="89" y="42"/>
                  </a:lnTo>
                  <a:lnTo>
                    <a:pt x="88" y="30"/>
                  </a:lnTo>
                  <a:lnTo>
                    <a:pt x="88" y="14"/>
                  </a:lnTo>
                  <a:lnTo>
                    <a:pt x="84" y="4"/>
                  </a:lnTo>
                  <a:lnTo>
                    <a:pt x="71" y="0"/>
                  </a:lnTo>
                  <a:lnTo>
                    <a:pt x="63" y="2"/>
                  </a:lnTo>
                  <a:lnTo>
                    <a:pt x="60" y="11"/>
                  </a:lnTo>
                  <a:lnTo>
                    <a:pt x="57" y="17"/>
                  </a:lnTo>
                  <a:lnTo>
                    <a:pt x="45" y="19"/>
                  </a:lnTo>
                  <a:lnTo>
                    <a:pt x="35" y="23"/>
                  </a:lnTo>
                  <a:lnTo>
                    <a:pt x="24" y="24"/>
                  </a:lnTo>
                  <a:lnTo>
                    <a:pt x="14" y="26"/>
                  </a:lnTo>
                  <a:lnTo>
                    <a:pt x="6" y="32"/>
                  </a:lnTo>
                  <a:lnTo>
                    <a:pt x="5" y="43"/>
                  </a:lnTo>
                  <a:lnTo>
                    <a:pt x="5" y="56"/>
                  </a:lnTo>
                  <a:lnTo>
                    <a:pt x="8" y="69"/>
                  </a:lnTo>
                  <a:lnTo>
                    <a:pt x="11" y="77"/>
                  </a:lnTo>
                  <a:lnTo>
                    <a:pt x="15" y="80"/>
                  </a:lnTo>
                  <a:lnTo>
                    <a:pt x="14" y="89"/>
                  </a:lnTo>
                  <a:lnTo>
                    <a:pt x="16" y="100"/>
                  </a:lnTo>
                  <a:lnTo>
                    <a:pt x="20" y="106"/>
                  </a:lnTo>
                  <a:lnTo>
                    <a:pt x="19" y="112"/>
                  </a:lnTo>
                  <a:lnTo>
                    <a:pt x="8" y="114"/>
                  </a:lnTo>
                  <a:lnTo>
                    <a:pt x="0" y="116"/>
                  </a:lnTo>
                  <a:lnTo>
                    <a:pt x="6" y="123"/>
                  </a:lnTo>
                  <a:lnTo>
                    <a:pt x="6" y="133"/>
                  </a:lnTo>
                  <a:lnTo>
                    <a:pt x="10" y="141"/>
                  </a:lnTo>
                  <a:lnTo>
                    <a:pt x="11" y="149"/>
                  </a:lnTo>
                  <a:lnTo>
                    <a:pt x="9" y="155"/>
                  </a:lnTo>
                  <a:lnTo>
                    <a:pt x="14" y="161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0A843B18-AE09-403B-BC5D-FF18BA931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" y="2498"/>
              <a:ext cx="527" cy="280"/>
            </a:xfrm>
            <a:custGeom>
              <a:avLst/>
              <a:gdLst>
                <a:gd name="T0" fmla="*/ 32 w 527"/>
                <a:gd name="T1" fmla="*/ 165 h 280"/>
                <a:gd name="T2" fmla="*/ 55 w 527"/>
                <a:gd name="T3" fmla="*/ 171 h 280"/>
                <a:gd name="T4" fmla="*/ 76 w 527"/>
                <a:gd name="T5" fmla="*/ 166 h 280"/>
                <a:gd name="T6" fmla="*/ 100 w 527"/>
                <a:gd name="T7" fmla="*/ 171 h 280"/>
                <a:gd name="T8" fmla="*/ 119 w 527"/>
                <a:gd name="T9" fmla="*/ 148 h 280"/>
                <a:gd name="T10" fmla="*/ 133 w 527"/>
                <a:gd name="T11" fmla="*/ 141 h 280"/>
                <a:gd name="T12" fmla="*/ 158 w 527"/>
                <a:gd name="T13" fmla="*/ 149 h 280"/>
                <a:gd name="T14" fmla="*/ 180 w 527"/>
                <a:gd name="T15" fmla="*/ 166 h 280"/>
                <a:gd name="T16" fmla="*/ 205 w 527"/>
                <a:gd name="T17" fmla="*/ 185 h 280"/>
                <a:gd name="T18" fmla="*/ 256 w 527"/>
                <a:gd name="T19" fmla="*/ 206 h 280"/>
                <a:gd name="T20" fmla="*/ 284 w 527"/>
                <a:gd name="T21" fmla="*/ 212 h 280"/>
                <a:gd name="T22" fmla="*/ 315 w 527"/>
                <a:gd name="T23" fmla="*/ 209 h 280"/>
                <a:gd name="T24" fmla="*/ 334 w 527"/>
                <a:gd name="T25" fmla="*/ 213 h 280"/>
                <a:gd name="T26" fmla="*/ 358 w 527"/>
                <a:gd name="T27" fmla="*/ 230 h 280"/>
                <a:gd name="T28" fmla="*/ 384 w 527"/>
                <a:gd name="T29" fmla="*/ 231 h 280"/>
                <a:gd name="T30" fmla="*/ 402 w 527"/>
                <a:gd name="T31" fmla="*/ 253 h 280"/>
                <a:gd name="T32" fmla="*/ 423 w 527"/>
                <a:gd name="T33" fmla="*/ 266 h 280"/>
                <a:gd name="T34" fmla="*/ 446 w 527"/>
                <a:gd name="T35" fmla="*/ 280 h 280"/>
                <a:gd name="T36" fmla="*/ 503 w 527"/>
                <a:gd name="T37" fmla="*/ 246 h 280"/>
                <a:gd name="T38" fmla="*/ 484 w 527"/>
                <a:gd name="T39" fmla="*/ 231 h 280"/>
                <a:gd name="T40" fmla="*/ 467 w 527"/>
                <a:gd name="T41" fmla="*/ 231 h 280"/>
                <a:gd name="T42" fmla="*/ 447 w 527"/>
                <a:gd name="T43" fmla="*/ 214 h 280"/>
                <a:gd name="T44" fmla="*/ 428 w 527"/>
                <a:gd name="T45" fmla="*/ 218 h 280"/>
                <a:gd name="T46" fmla="*/ 409 w 527"/>
                <a:gd name="T47" fmla="*/ 215 h 280"/>
                <a:gd name="T48" fmla="*/ 399 w 527"/>
                <a:gd name="T49" fmla="*/ 201 h 280"/>
                <a:gd name="T50" fmla="*/ 396 w 527"/>
                <a:gd name="T51" fmla="*/ 187 h 280"/>
                <a:gd name="T52" fmla="*/ 379 w 527"/>
                <a:gd name="T53" fmla="*/ 168 h 280"/>
                <a:gd name="T54" fmla="*/ 348 w 527"/>
                <a:gd name="T55" fmla="*/ 167 h 280"/>
                <a:gd name="T56" fmla="*/ 345 w 527"/>
                <a:gd name="T57" fmla="*/ 144 h 280"/>
                <a:gd name="T58" fmla="*/ 329 w 527"/>
                <a:gd name="T59" fmla="*/ 132 h 280"/>
                <a:gd name="T60" fmla="*/ 312 w 527"/>
                <a:gd name="T61" fmla="*/ 130 h 280"/>
                <a:gd name="T62" fmla="*/ 308 w 527"/>
                <a:gd name="T63" fmla="*/ 113 h 280"/>
                <a:gd name="T64" fmla="*/ 302 w 527"/>
                <a:gd name="T65" fmla="*/ 97 h 280"/>
                <a:gd name="T66" fmla="*/ 271 w 527"/>
                <a:gd name="T67" fmla="*/ 92 h 280"/>
                <a:gd name="T68" fmla="*/ 250 w 527"/>
                <a:gd name="T69" fmla="*/ 79 h 280"/>
                <a:gd name="T70" fmla="*/ 226 w 527"/>
                <a:gd name="T71" fmla="*/ 78 h 280"/>
                <a:gd name="T72" fmla="*/ 202 w 527"/>
                <a:gd name="T73" fmla="*/ 76 h 280"/>
                <a:gd name="T74" fmla="*/ 190 w 527"/>
                <a:gd name="T75" fmla="*/ 55 h 280"/>
                <a:gd name="T76" fmla="*/ 167 w 527"/>
                <a:gd name="T77" fmla="*/ 50 h 280"/>
                <a:gd name="T78" fmla="*/ 151 w 527"/>
                <a:gd name="T79" fmla="*/ 58 h 280"/>
                <a:gd name="T80" fmla="*/ 127 w 527"/>
                <a:gd name="T81" fmla="*/ 63 h 280"/>
                <a:gd name="T82" fmla="*/ 107 w 527"/>
                <a:gd name="T83" fmla="*/ 61 h 280"/>
                <a:gd name="T84" fmla="*/ 89 w 527"/>
                <a:gd name="T85" fmla="*/ 42 h 280"/>
                <a:gd name="T86" fmla="*/ 84 w 527"/>
                <a:gd name="T87" fmla="*/ 4 h 280"/>
                <a:gd name="T88" fmla="*/ 60 w 527"/>
                <a:gd name="T89" fmla="*/ 11 h 280"/>
                <a:gd name="T90" fmla="*/ 35 w 527"/>
                <a:gd name="T91" fmla="*/ 23 h 280"/>
                <a:gd name="T92" fmla="*/ 6 w 527"/>
                <a:gd name="T93" fmla="*/ 32 h 280"/>
                <a:gd name="T94" fmla="*/ 8 w 527"/>
                <a:gd name="T95" fmla="*/ 69 h 280"/>
                <a:gd name="T96" fmla="*/ 14 w 527"/>
                <a:gd name="T97" fmla="*/ 89 h 280"/>
                <a:gd name="T98" fmla="*/ 19 w 527"/>
                <a:gd name="T99" fmla="*/ 112 h 280"/>
                <a:gd name="T100" fmla="*/ 6 w 527"/>
                <a:gd name="T101" fmla="*/ 123 h 280"/>
                <a:gd name="T102" fmla="*/ 11 w 527"/>
                <a:gd name="T103" fmla="*/ 149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27" h="280">
                  <a:moveTo>
                    <a:pt x="14" y="161"/>
                  </a:moveTo>
                  <a:lnTo>
                    <a:pt x="22" y="164"/>
                  </a:lnTo>
                  <a:lnTo>
                    <a:pt x="32" y="165"/>
                  </a:lnTo>
                  <a:lnTo>
                    <a:pt x="39" y="170"/>
                  </a:lnTo>
                  <a:lnTo>
                    <a:pt x="46" y="171"/>
                  </a:lnTo>
                  <a:lnTo>
                    <a:pt x="55" y="171"/>
                  </a:lnTo>
                  <a:lnTo>
                    <a:pt x="65" y="173"/>
                  </a:lnTo>
                  <a:lnTo>
                    <a:pt x="63" y="166"/>
                  </a:lnTo>
                  <a:lnTo>
                    <a:pt x="76" y="166"/>
                  </a:lnTo>
                  <a:lnTo>
                    <a:pt x="84" y="170"/>
                  </a:lnTo>
                  <a:lnTo>
                    <a:pt x="91" y="176"/>
                  </a:lnTo>
                  <a:lnTo>
                    <a:pt x="100" y="171"/>
                  </a:lnTo>
                  <a:lnTo>
                    <a:pt x="108" y="170"/>
                  </a:lnTo>
                  <a:lnTo>
                    <a:pt x="118" y="170"/>
                  </a:lnTo>
                  <a:lnTo>
                    <a:pt x="119" y="148"/>
                  </a:lnTo>
                  <a:lnTo>
                    <a:pt x="127" y="149"/>
                  </a:lnTo>
                  <a:lnTo>
                    <a:pt x="128" y="144"/>
                  </a:lnTo>
                  <a:lnTo>
                    <a:pt x="133" y="141"/>
                  </a:lnTo>
                  <a:lnTo>
                    <a:pt x="144" y="147"/>
                  </a:lnTo>
                  <a:lnTo>
                    <a:pt x="152" y="151"/>
                  </a:lnTo>
                  <a:lnTo>
                    <a:pt x="158" y="149"/>
                  </a:lnTo>
                  <a:lnTo>
                    <a:pt x="165" y="156"/>
                  </a:lnTo>
                  <a:lnTo>
                    <a:pt x="174" y="158"/>
                  </a:lnTo>
                  <a:lnTo>
                    <a:pt x="180" y="166"/>
                  </a:lnTo>
                  <a:lnTo>
                    <a:pt x="187" y="172"/>
                  </a:lnTo>
                  <a:lnTo>
                    <a:pt x="193" y="181"/>
                  </a:lnTo>
                  <a:lnTo>
                    <a:pt x="205" y="185"/>
                  </a:lnTo>
                  <a:lnTo>
                    <a:pt x="223" y="196"/>
                  </a:lnTo>
                  <a:lnTo>
                    <a:pt x="244" y="194"/>
                  </a:lnTo>
                  <a:lnTo>
                    <a:pt x="256" y="206"/>
                  </a:lnTo>
                  <a:lnTo>
                    <a:pt x="266" y="207"/>
                  </a:lnTo>
                  <a:lnTo>
                    <a:pt x="277" y="212"/>
                  </a:lnTo>
                  <a:lnTo>
                    <a:pt x="284" y="212"/>
                  </a:lnTo>
                  <a:lnTo>
                    <a:pt x="292" y="215"/>
                  </a:lnTo>
                  <a:lnTo>
                    <a:pt x="303" y="215"/>
                  </a:lnTo>
                  <a:lnTo>
                    <a:pt x="315" y="209"/>
                  </a:lnTo>
                  <a:lnTo>
                    <a:pt x="322" y="213"/>
                  </a:lnTo>
                  <a:lnTo>
                    <a:pt x="329" y="214"/>
                  </a:lnTo>
                  <a:lnTo>
                    <a:pt x="334" y="213"/>
                  </a:lnTo>
                  <a:lnTo>
                    <a:pt x="343" y="220"/>
                  </a:lnTo>
                  <a:lnTo>
                    <a:pt x="349" y="227"/>
                  </a:lnTo>
                  <a:lnTo>
                    <a:pt x="358" y="230"/>
                  </a:lnTo>
                  <a:lnTo>
                    <a:pt x="368" y="233"/>
                  </a:lnTo>
                  <a:lnTo>
                    <a:pt x="377" y="224"/>
                  </a:lnTo>
                  <a:lnTo>
                    <a:pt x="384" y="231"/>
                  </a:lnTo>
                  <a:lnTo>
                    <a:pt x="389" y="242"/>
                  </a:lnTo>
                  <a:lnTo>
                    <a:pt x="394" y="248"/>
                  </a:lnTo>
                  <a:lnTo>
                    <a:pt x="402" y="253"/>
                  </a:lnTo>
                  <a:lnTo>
                    <a:pt x="409" y="254"/>
                  </a:lnTo>
                  <a:lnTo>
                    <a:pt x="417" y="260"/>
                  </a:lnTo>
                  <a:lnTo>
                    <a:pt x="423" y="266"/>
                  </a:lnTo>
                  <a:lnTo>
                    <a:pt x="432" y="268"/>
                  </a:lnTo>
                  <a:lnTo>
                    <a:pt x="441" y="273"/>
                  </a:lnTo>
                  <a:lnTo>
                    <a:pt x="446" y="280"/>
                  </a:lnTo>
                  <a:lnTo>
                    <a:pt x="527" y="253"/>
                  </a:lnTo>
                  <a:lnTo>
                    <a:pt x="514" y="249"/>
                  </a:lnTo>
                  <a:lnTo>
                    <a:pt x="503" y="246"/>
                  </a:lnTo>
                  <a:lnTo>
                    <a:pt x="497" y="240"/>
                  </a:lnTo>
                  <a:lnTo>
                    <a:pt x="493" y="236"/>
                  </a:lnTo>
                  <a:lnTo>
                    <a:pt x="484" y="231"/>
                  </a:lnTo>
                  <a:lnTo>
                    <a:pt x="478" y="236"/>
                  </a:lnTo>
                  <a:lnTo>
                    <a:pt x="474" y="230"/>
                  </a:lnTo>
                  <a:lnTo>
                    <a:pt x="467" y="231"/>
                  </a:lnTo>
                  <a:lnTo>
                    <a:pt x="458" y="226"/>
                  </a:lnTo>
                  <a:lnTo>
                    <a:pt x="462" y="220"/>
                  </a:lnTo>
                  <a:lnTo>
                    <a:pt x="447" y="214"/>
                  </a:lnTo>
                  <a:lnTo>
                    <a:pt x="439" y="215"/>
                  </a:lnTo>
                  <a:lnTo>
                    <a:pt x="434" y="212"/>
                  </a:lnTo>
                  <a:lnTo>
                    <a:pt x="428" y="218"/>
                  </a:lnTo>
                  <a:lnTo>
                    <a:pt x="423" y="214"/>
                  </a:lnTo>
                  <a:lnTo>
                    <a:pt x="415" y="219"/>
                  </a:lnTo>
                  <a:lnTo>
                    <a:pt x="409" y="215"/>
                  </a:lnTo>
                  <a:lnTo>
                    <a:pt x="407" y="208"/>
                  </a:lnTo>
                  <a:lnTo>
                    <a:pt x="399" y="208"/>
                  </a:lnTo>
                  <a:lnTo>
                    <a:pt x="399" y="201"/>
                  </a:lnTo>
                  <a:lnTo>
                    <a:pt x="394" y="196"/>
                  </a:lnTo>
                  <a:lnTo>
                    <a:pt x="392" y="189"/>
                  </a:lnTo>
                  <a:lnTo>
                    <a:pt x="396" y="187"/>
                  </a:lnTo>
                  <a:lnTo>
                    <a:pt x="395" y="177"/>
                  </a:lnTo>
                  <a:lnTo>
                    <a:pt x="388" y="171"/>
                  </a:lnTo>
                  <a:lnTo>
                    <a:pt x="379" y="168"/>
                  </a:lnTo>
                  <a:lnTo>
                    <a:pt x="366" y="168"/>
                  </a:lnTo>
                  <a:lnTo>
                    <a:pt x="355" y="162"/>
                  </a:lnTo>
                  <a:lnTo>
                    <a:pt x="348" y="167"/>
                  </a:lnTo>
                  <a:lnTo>
                    <a:pt x="345" y="161"/>
                  </a:lnTo>
                  <a:lnTo>
                    <a:pt x="341" y="153"/>
                  </a:lnTo>
                  <a:lnTo>
                    <a:pt x="345" y="144"/>
                  </a:lnTo>
                  <a:lnTo>
                    <a:pt x="343" y="136"/>
                  </a:lnTo>
                  <a:lnTo>
                    <a:pt x="336" y="130"/>
                  </a:lnTo>
                  <a:lnTo>
                    <a:pt x="329" y="132"/>
                  </a:lnTo>
                  <a:lnTo>
                    <a:pt x="326" y="125"/>
                  </a:lnTo>
                  <a:lnTo>
                    <a:pt x="321" y="126"/>
                  </a:lnTo>
                  <a:lnTo>
                    <a:pt x="312" y="130"/>
                  </a:lnTo>
                  <a:lnTo>
                    <a:pt x="304" y="126"/>
                  </a:lnTo>
                  <a:lnTo>
                    <a:pt x="304" y="120"/>
                  </a:lnTo>
                  <a:lnTo>
                    <a:pt x="308" y="113"/>
                  </a:lnTo>
                  <a:lnTo>
                    <a:pt x="305" y="107"/>
                  </a:lnTo>
                  <a:lnTo>
                    <a:pt x="297" y="105"/>
                  </a:lnTo>
                  <a:lnTo>
                    <a:pt x="302" y="97"/>
                  </a:lnTo>
                  <a:lnTo>
                    <a:pt x="287" y="89"/>
                  </a:lnTo>
                  <a:lnTo>
                    <a:pt x="280" y="90"/>
                  </a:lnTo>
                  <a:lnTo>
                    <a:pt x="271" y="92"/>
                  </a:lnTo>
                  <a:lnTo>
                    <a:pt x="264" y="86"/>
                  </a:lnTo>
                  <a:lnTo>
                    <a:pt x="255" y="88"/>
                  </a:lnTo>
                  <a:lnTo>
                    <a:pt x="250" y="79"/>
                  </a:lnTo>
                  <a:lnTo>
                    <a:pt x="242" y="82"/>
                  </a:lnTo>
                  <a:lnTo>
                    <a:pt x="235" y="76"/>
                  </a:lnTo>
                  <a:lnTo>
                    <a:pt x="226" y="78"/>
                  </a:lnTo>
                  <a:lnTo>
                    <a:pt x="216" y="80"/>
                  </a:lnTo>
                  <a:lnTo>
                    <a:pt x="211" y="72"/>
                  </a:lnTo>
                  <a:lnTo>
                    <a:pt x="202" y="76"/>
                  </a:lnTo>
                  <a:lnTo>
                    <a:pt x="195" y="67"/>
                  </a:lnTo>
                  <a:lnTo>
                    <a:pt x="190" y="63"/>
                  </a:lnTo>
                  <a:lnTo>
                    <a:pt x="190" y="55"/>
                  </a:lnTo>
                  <a:lnTo>
                    <a:pt x="182" y="50"/>
                  </a:lnTo>
                  <a:lnTo>
                    <a:pt x="176" y="52"/>
                  </a:lnTo>
                  <a:lnTo>
                    <a:pt x="167" y="50"/>
                  </a:lnTo>
                  <a:lnTo>
                    <a:pt x="164" y="56"/>
                  </a:lnTo>
                  <a:lnTo>
                    <a:pt x="158" y="59"/>
                  </a:lnTo>
                  <a:lnTo>
                    <a:pt x="151" y="58"/>
                  </a:lnTo>
                  <a:lnTo>
                    <a:pt x="145" y="61"/>
                  </a:lnTo>
                  <a:lnTo>
                    <a:pt x="140" y="63"/>
                  </a:lnTo>
                  <a:lnTo>
                    <a:pt x="127" y="63"/>
                  </a:lnTo>
                  <a:lnTo>
                    <a:pt x="122" y="58"/>
                  </a:lnTo>
                  <a:lnTo>
                    <a:pt x="116" y="63"/>
                  </a:lnTo>
                  <a:lnTo>
                    <a:pt x="107" y="61"/>
                  </a:lnTo>
                  <a:lnTo>
                    <a:pt x="97" y="55"/>
                  </a:lnTo>
                  <a:lnTo>
                    <a:pt x="89" y="53"/>
                  </a:lnTo>
                  <a:lnTo>
                    <a:pt x="89" y="42"/>
                  </a:lnTo>
                  <a:lnTo>
                    <a:pt x="88" y="30"/>
                  </a:lnTo>
                  <a:lnTo>
                    <a:pt x="88" y="14"/>
                  </a:lnTo>
                  <a:lnTo>
                    <a:pt x="84" y="4"/>
                  </a:lnTo>
                  <a:lnTo>
                    <a:pt x="71" y="0"/>
                  </a:lnTo>
                  <a:lnTo>
                    <a:pt x="63" y="2"/>
                  </a:lnTo>
                  <a:lnTo>
                    <a:pt x="60" y="11"/>
                  </a:lnTo>
                  <a:lnTo>
                    <a:pt x="57" y="17"/>
                  </a:lnTo>
                  <a:lnTo>
                    <a:pt x="45" y="19"/>
                  </a:lnTo>
                  <a:lnTo>
                    <a:pt x="35" y="23"/>
                  </a:lnTo>
                  <a:lnTo>
                    <a:pt x="24" y="24"/>
                  </a:lnTo>
                  <a:lnTo>
                    <a:pt x="14" y="26"/>
                  </a:lnTo>
                  <a:lnTo>
                    <a:pt x="6" y="32"/>
                  </a:lnTo>
                  <a:lnTo>
                    <a:pt x="5" y="43"/>
                  </a:lnTo>
                  <a:lnTo>
                    <a:pt x="5" y="56"/>
                  </a:lnTo>
                  <a:lnTo>
                    <a:pt x="8" y="69"/>
                  </a:lnTo>
                  <a:lnTo>
                    <a:pt x="11" y="77"/>
                  </a:lnTo>
                  <a:lnTo>
                    <a:pt x="15" y="80"/>
                  </a:lnTo>
                  <a:lnTo>
                    <a:pt x="14" y="89"/>
                  </a:lnTo>
                  <a:lnTo>
                    <a:pt x="16" y="100"/>
                  </a:lnTo>
                  <a:lnTo>
                    <a:pt x="20" y="106"/>
                  </a:lnTo>
                  <a:lnTo>
                    <a:pt x="19" y="112"/>
                  </a:lnTo>
                  <a:lnTo>
                    <a:pt x="8" y="114"/>
                  </a:lnTo>
                  <a:lnTo>
                    <a:pt x="0" y="116"/>
                  </a:lnTo>
                  <a:lnTo>
                    <a:pt x="6" y="123"/>
                  </a:lnTo>
                  <a:lnTo>
                    <a:pt x="6" y="133"/>
                  </a:lnTo>
                  <a:lnTo>
                    <a:pt x="10" y="141"/>
                  </a:lnTo>
                  <a:lnTo>
                    <a:pt x="11" y="149"/>
                  </a:lnTo>
                  <a:lnTo>
                    <a:pt x="9" y="155"/>
                  </a:lnTo>
                  <a:lnTo>
                    <a:pt x="14" y="161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3E4E7918-7AE9-46D9-8EBA-50EE696C9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" y="2268"/>
              <a:ext cx="803" cy="521"/>
            </a:xfrm>
            <a:custGeom>
              <a:avLst/>
              <a:gdLst>
                <a:gd name="T0" fmla="*/ 448 w 803"/>
                <a:gd name="T1" fmla="*/ 492 h 521"/>
                <a:gd name="T2" fmla="*/ 472 w 803"/>
                <a:gd name="T3" fmla="*/ 501 h 521"/>
                <a:gd name="T4" fmla="*/ 511 w 803"/>
                <a:gd name="T5" fmla="*/ 513 h 521"/>
                <a:gd name="T6" fmla="*/ 544 w 803"/>
                <a:gd name="T7" fmla="*/ 501 h 521"/>
                <a:gd name="T8" fmla="*/ 575 w 803"/>
                <a:gd name="T9" fmla="*/ 503 h 521"/>
                <a:gd name="T10" fmla="*/ 612 w 803"/>
                <a:gd name="T11" fmla="*/ 521 h 521"/>
                <a:gd name="T12" fmla="*/ 639 w 803"/>
                <a:gd name="T13" fmla="*/ 507 h 521"/>
                <a:gd name="T14" fmla="*/ 669 w 803"/>
                <a:gd name="T15" fmla="*/ 492 h 521"/>
                <a:gd name="T16" fmla="*/ 692 w 803"/>
                <a:gd name="T17" fmla="*/ 465 h 521"/>
                <a:gd name="T18" fmla="*/ 722 w 803"/>
                <a:gd name="T19" fmla="*/ 456 h 521"/>
                <a:gd name="T20" fmla="*/ 747 w 803"/>
                <a:gd name="T21" fmla="*/ 427 h 521"/>
                <a:gd name="T22" fmla="*/ 775 w 803"/>
                <a:gd name="T23" fmla="*/ 408 h 521"/>
                <a:gd name="T24" fmla="*/ 800 w 803"/>
                <a:gd name="T25" fmla="*/ 389 h 521"/>
                <a:gd name="T26" fmla="*/ 776 w 803"/>
                <a:gd name="T27" fmla="*/ 391 h 521"/>
                <a:gd name="T28" fmla="*/ 751 w 803"/>
                <a:gd name="T29" fmla="*/ 383 h 521"/>
                <a:gd name="T30" fmla="*/ 730 w 803"/>
                <a:gd name="T31" fmla="*/ 363 h 521"/>
                <a:gd name="T32" fmla="*/ 708 w 803"/>
                <a:gd name="T33" fmla="*/ 350 h 521"/>
                <a:gd name="T34" fmla="*/ 694 w 803"/>
                <a:gd name="T35" fmla="*/ 331 h 521"/>
                <a:gd name="T36" fmla="*/ 672 w 803"/>
                <a:gd name="T37" fmla="*/ 311 h 521"/>
                <a:gd name="T38" fmla="*/ 651 w 803"/>
                <a:gd name="T39" fmla="*/ 306 h 521"/>
                <a:gd name="T40" fmla="*/ 633 w 803"/>
                <a:gd name="T41" fmla="*/ 284 h 521"/>
                <a:gd name="T42" fmla="*/ 609 w 803"/>
                <a:gd name="T43" fmla="*/ 264 h 521"/>
                <a:gd name="T44" fmla="*/ 570 w 803"/>
                <a:gd name="T45" fmla="*/ 254 h 521"/>
                <a:gd name="T46" fmla="*/ 552 w 803"/>
                <a:gd name="T47" fmla="*/ 265 h 521"/>
                <a:gd name="T48" fmla="*/ 533 w 803"/>
                <a:gd name="T49" fmla="*/ 286 h 521"/>
                <a:gd name="T50" fmla="*/ 498 w 803"/>
                <a:gd name="T51" fmla="*/ 276 h 521"/>
                <a:gd name="T52" fmla="*/ 463 w 803"/>
                <a:gd name="T53" fmla="*/ 249 h 521"/>
                <a:gd name="T54" fmla="*/ 448 w 803"/>
                <a:gd name="T55" fmla="*/ 223 h 521"/>
                <a:gd name="T56" fmla="*/ 426 w 803"/>
                <a:gd name="T57" fmla="*/ 202 h 521"/>
                <a:gd name="T58" fmla="*/ 373 w 803"/>
                <a:gd name="T59" fmla="*/ 194 h 521"/>
                <a:gd name="T60" fmla="*/ 332 w 803"/>
                <a:gd name="T61" fmla="*/ 169 h 521"/>
                <a:gd name="T62" fmla="*/ 284 w 803"/>
                <a:gd name="T63" fmla="*/ 158 h 521"/>
                <a:gd name="T64" fmla="*/ 265 w 803"/>
                <a:gd name="T65" fmla="*/ 112 h 521"/>
                <a:gd name="T66" fmla="*/ 251 w 803"/>
                <a:gd name="T67" fmla="*/ 60 h 521"/>
                <a:gd name="T68" fmla="*/ 254 w 803"/>
                <a:gd name="T69" fmla="*/ 13 h 521"/>
                <a:gd name="T70" fmla="*/ 204 w 803"/>
                <a:gd name="T71" fmla="*/ 7 h 521"/>
                <a:gd name="T72" fmla="*/ 201 w 803"/>
                <a:gd name="T73" fmla="*/ 40 h 521"/>
                <a:gd name="T74" fmla="*/ 170 w 803"/>
                <a:gd name="T75" fmla="*/ 60 h 521"/>
                <a:gd name="T76" fmla="*/ 150 w 803"/>
                <a:gd name="T77" fmla="*/ 90 h 521"/>
                <a:gd name="T78" fmla="*/ 121 w 803"/>
                <a:gd name="T79" fmla="*/ 123 h 521"/>
                <a:gd name="T80" fmla="*/ 91 w 803"/>
                <a:gd name="T81" fmla="*/ 160 h 521"/>
                <a:gd name="T82" fmla="*/ 65 w 803"/>
                <a:gd name="T83" fmla="*/ 192 h 521"/>
                <a:gd name="T84" fmla="*/ 28 w 803"/>
                <a:gd name="T85" fmla="*/ 212 h 521"/>
                <a:gd name="T86" fmla="*/ 10 w 803"/>
                <a:gd name="T87" fmla="*/ 234 h 521"/>
                <a:gd name="T88" fmla="*/ 28 w 803"/>
                <a:gd name="T89" fmla="*/ 275 h 521"/>
                <a:gd name="T90" fmla="*/ 60 w 803"/>
                <a:gd name="T91" fmla="*/ 288 h 521"/>
                <a:gd name="T92" fmla="*/ 81 w 803"/>
                <a:gd name="T93" fmla="*/ 305 h 521"/>
                <a:gd name="T94" fmla="*/ 112 w 803"/>
                <a:gd name="T95" fmla="*/ 315 h 521"/>
                <a:gd name="T96" fmla="*/ 141 w 803"/>
                <a:gd name="T97" fmla="*/ 325 h 521"/>
                <a:gd name="T98" fmla="*/ 167 w 803"/>
                <a:gd name="T99" fmla="*/ 337 h 521"/>
                <a:gd name="T100" fmla="*/ 175 w 803"/>
                <a:gd name="T101" fmla="*/ 359 h 521"/>
                <a:gd name="T102" fmla="*/ 200 w 803"/>
                <a:gd name="T103" fmla="*/ 365 h 521"/>
                <a:gd name="T104" fmla="*/ 212 w 803"/>
                <a:gd name="T105" fmla="*/ 385 h 521"/>
                <a:gd name="T106" fmla="*/ 237 w 803"/>
                <a:gd name="T107" fmla="*/ 401 h 521"/>
                <a:gd name="T108" fmla="*/ 267 w 803"/>
                <a:gd name="T109" fmla="*/ 418 h 521"/>
                <a:gd name="T110" fmla="*/ 271 w 803"/>
                <a:gd name="T111" fmla="*/ 440 h 521"/>
                <a:gd name="T112" fmla="*/ 295 w 803"/>
                <a:gd name="T113" fmla="*/ 446 h 521"/>
                <a:gd name="T114" fmla="*/ 319 w 803"/>
                <a:gd name="T115" fmla="*/ 446 h 521"/>
                <a:gd name="T116" fmla="*/ 346 w 803"/>
                <a:gd name="T117" fmla="*/ 462 h 521"/>
                <a:gd name="T118" fmla="*/ 370 w 803"/>
                <a:gd name="T119" fmla="*/ 471 h 521"/>
                <a:gd name="T120" fmla="*/ 412 w 803"/>
                <a:gd name="T121" fmla="*/ 487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3" h="521">
                  <a:moveTo>
                    <a:pt x="427" y="486"/>
                  </a:moveTo>
                  <a:lnTo>
                    <a:pt x="436" y="486"/>
                  </a:lnTo>
                  <a:lnTo>
                    <a:pt x="436" y="492"/>
                  </a:lnTo>
                  <a:lnTo>
                    <a:pt x="448" y="492"/>
                  </a:lnTo>
                  <a:lnTo>
                    <a:pt x="448" y="501"/>
                  </a:lnTo>
                  <a:lnTo>
                    <a:pt x="456" y="498"/>
                  </a:lnTo>
                  <a:lnTo>
                    <a:pt x="463" y="504"/>
                  </a:lnTo>
                  <a:lnTo>
                    <a:pt x="472" y="501"/>
                  </a:lnTo>
                  <a:lnTo>
                    <a:pt x="483" y="498"/>
                  </a:lnTo>
                  <a:lnTo>
                    <a:pt x="490" y="503"/>
                  </a:lnTo>
                  <a:lnTo>
                    <a:pt x="499" y="506"/>
                  </a:lnTo>
                  <a:lnTo>
                    <a:pt x="511" y="513"/>
                  </a:lnTo>
                  <a:lnTo>
                    <a:pt x="523" y="510"/>
                  </a:lnTo>
                  <a:lnTo>
                    <a:pt x="529" y="504"/>
                  </a:lnTo>
                  <a:lnTo>
                    <a:pt x="534" y="498"/>
                  </a:lnTo>
                  <a:lnTo>
                    <a:pt x="544" y="501"/>
                  </a:lnTo>
                  <a:lnTo>
                    <a:pt x="552" y="509"/>
                  </a:lnTo>
                  <a:lnTo>
                    <a:pt x="562" y="512"/>
                  </a:lnTo>
                  <a:lnTo>
                    <a:pt x="569" y="510"/>
                  </a:lnTo>
                  <a:lnTo>
                    <a:pt x="575" y="503"/>
                  </a:lnTo>
                  <a:lnTo>
                    <a:pt x="583" y="505"/>
                  </a:lnTo>
                  <a:lnTo>
                    <a:pt x="594" y="511"/>
                  </a:lnTo>
                  <a:lnTo>
                    <a:pt x="604" y="519"/>
                  </a:lnTo>
                  <a:lnTo>
                    <a:pt x="612" y="521"/>
                  </a:lnTo>
                  <a:lnTo>
                    <a:pt x="620" y="512"/>
                  </a:lnTo>
                  <a:lnTo>
                    <a:pt x="626" y="503"/>
                  </a:lnTo>
                  <a:lnTo>
                    <a:pt x="631" y="500"/>
                  </a:lnTo>
                  <a:lnTo>
                    <a:pt x="639" y="507"/>
                  </a:lnTo>
                  <a:lnTo>
                    <a:pt x="646" y="510"/>
                  </a:lnTo>
                  <a:lnTo>
                    <a:pt x="656" y="511"/>
                  </a:lnTo>
                  <a:lnTo>
                    <a:pt x="663" y="500"/>
                  </a:lnTo>
                  <a:lnTo>
                    <a:pt x="669" y="492"/>
                  </a:lnTo>
                  <a:lnTo>
                    <a:pt x="670" y="482"/>
                  </a:lnTo>
                  <a:lnTo>
                    <a:pt x="674" y="473"/>
                  </a:lnTo>
                  <a:lnTo>
                    <a:pt x="683" y="468"/>
                  </a:lnTo>
                  <a:lnTo>
                    <a:pt x="692" y="465"/>
                  </a:lnTo>
                  <a:lnTo>
                    <a:pt x="694" y="456"/>
                  </a:lnTo>
                  <a:lnTo>
                    <a:pt x="699" y="450"/>
                  </a:lnTo>
                  <a:lnTo>
                    <a:pt x="711" y="454"/>
                  </a:lnTo>
                  <a:lnTo>
                    <a:pt x="722" y="456"/>
                  </a:lnTo>
                  <a:lnTo>
                    <a:pt x="734" y="451"/>
                  </a:lnTo>
                  <a:lnTo>
                    <a:pt x="737" y="440"/>
                  </a:lnTo>
                  <a:lnTo>
                    <a:pt x="741" y="432"/>
                  </a:lnTo>
                  <a:lnTo>
                    <a:pt x="747" y="427"/>
                  </a:lnTo>
                  <a:lnTo>
                    <a:pt x="755" y="424"/>
                  </a:lnTo>
                  <a:lnTo>
                    <a:pt x="759" y="415"/>
                  </a:lnTo>
                  <a:lnTo>
                    <a:pt x="762" y="411"/>
                  </a:lnTo>
                  <a:lnTo>
                    <a:pt x="775" y="408"/>
                  </a:lnTo>
                  <a:lnTo>
                    <a:pt x="793" y="408"/>
                  </a:lnTo>
                  <a:lnTo>
                    <a:pt x="802" y="404"/>
                  </a:lnTo>
                  <a:lnTo>
                    <a:pt x="803" y="395"/>
                  </a:lnTo>
                  <a:lnTo>
                    <a:pt x="800" y="389"/>
                  </a:lnTo>
                  <a:lnTo>
                    <a:pt x="793" y="388"/>
                  </a:lnTo>
                  <a:lnTo>
                    <a:pt x="786" y="391"/>
                  </a:lnTo>
                  <a:lnTo>
                    <a:pt x="782" y="388"/>
                  </a:lnTo>
                  <a:lnTo>
                    <a:pt x="776" y="391"/>
                  </a:lnTo>
                  <a:lnTo>
                    <a:pt x="771" y="388"/>
                  </a:lnTo>
                  <a:lnTo>
                    <a:pt x="765" y="385"/>
                  </a:lnTo>
                  <a:lnTo>
                    <a:pt x="758" y="386"/>
                  </a:lnTo>
                  <a:lnTo>
                    <a:pt x="751" y="383"/>
                  </a:lnTo>
                  <a:lnTo>
                    <a:pt x="745" y="377"/>
                  </a:lnTo>
                  <a:lnTo>
                    <a:pt x="741" y="371"/>
                  </a:lnTo>
                  <a:lnTo>
                    <a:pt x="735" y="369"/>
                  </a:lnTo>
                  <a:lnTo>
                    <a:pt x="730" y="363"/>
                  </a:lnTo>
                  <a:lnTo>
                    <a:pt x="723" y="365"/>
                  </a:lnTo>
                  <a:lnTo>
                    <a:pt x="721" y="356"/>
                  </a:lnTo>
                  <a:lnTo>
                    <a:pt x="717" y="348"/>
                  </a:lnTo>
                  <a:lnTo>
                    <a:pt x="708" y="350"/>
                  </a:lnTo>
                  <a:lnTo>
                    <a:pt x="708" y="343"/>
                  </a:lnTo>
                  <a:lnTo>
                    <a:pt x="705" y="334"/>
                  </a:lnTo>
                  <a:lnTo>
                    <a:pt x="699" y="336"/>
                  </a:lnTo>
                  <a:lnTo>
                    <a:pt x="694" y="331"/>
                  </a:lnTo>
                  <a:lnTo>
                    <a:pt x="693" y="323"/>
                  </a:lnTo>
                  <a:lnTo>
                    <a:pt x="685" y="323"/>
                  </a:lnTo>
                  <a:lnTo>
                    <a:pt x="681" y="315"/>
                  </a:lnTo>
                  <a:lnTo>
                    <a:pt x="672" y="311"/>
                  </a:lnTo>
                  <a:lnTo>
                    <a:pt x="665" y="313"/>
                  </a:lnTo>
                  <a:lnTo>
                    <a:pt x="659" y="315"/>
                  </a:lnTo>
                  <a:lnTo>
                    <a:pt x="656" y="304"/>
                  </a:lnTo>
                  <a:lnTo>
                    <a:pt x="651" y="306"/>
                  </a:lnTo>
                  <a:lnTo>
                    <a:pt x="645" y="301"/>
                  </a:lnTo>
                  <a:lnTo>
                    <a:pt x="645" y="294"/>
                  </a:lnTo>
                  <a:lnTo>
                    <a:pt x="640" y="286"/>
                  </a:lnTo>
                  <a:lnTo>
                    <a:pt x="633" y="284"/>
                  </a:lnTo>
                  <a:lnTo>
                    <a:pt x="629" y="276"/>
                  </a:lnTo>
                  <a:lnTo>
                    <a:pt x="626" y="266"/>
                  </a:lnTo>
                  <a:lnTo>
                    <a:pt x="616" y="258"/>
                  </a:lnTo>
                  <a:lnTo>
                    <a:pt x="609" y="264"/>
                  </a:lnTo>
                  <a:lnTo>
                    <a:pt x="594" y="256"/>
                  </a:lnTo>
                  <a:lnTo>
                    <a:pt x="585" y="249"/>
                  </a:lnTo>
                  <a:lnTo>
                    <a:pt x="576" y="246"/>
                  </a:lnTo>
                  <a:lnTo>
                    <a:pt x="570" y="254"/>
                  </a:lnTo>
                  <a:lnTo>
                    <a:pt x="564" y="247"/>
                  </a:lnTo>
                  <a:lnTo>
                    <a:pt x="558" y="249"/>
                  </a:lnTo>
                  <a:lnTo>
                    <a:pt x="551" y="257"/>
                  </a:lnTo>
                  <a:lnTo>
                    <a:pt x="552" y="265"/>
                  </a:lnTo>
                  <a:lnTo>
                    <a:pt x="547" y="272"/>
                  </a:lnTo>
                  <a:lnTo>
                    <a:pt x="540" y="274"/>
                  </a:lnTo>
                  <a:lnTo>
                    <a:pt x="534" y="278"/>
                  </a:lnTo>
                  <a:lnTo>
                    <a:pt x="533" y="286"/>
                  </a:lnTo>
                  <a:lnTo>
                    <a:pt x="523" y="290"/>
                  </a:lnTo>
                  <a:lnTo>
                    <a:pt x="512" y="288"/>
                  </a:lnTo>
                  <a:lnTo>
                    <a:pt x="505" y="284"/>
                  </a:lnTo>
                  <a:lnTo>
                    <a:pt x="498" y="276"/>
                  </a:lnTo>
                  <a:lnTo>
                    <a:pt x="487" y="271"/>
                  </a:lnTo>
                  <a:lnTo>
                    <a:pt x="480" y="266"/>
                  </a:lnTo>
                  <a:lnTo>
                    <a:pt x="469" y="257"/>
                  </a:lnTo>
                  <a:lnTo>
                    <a:pt x="463" y="249"/>
                  </a:lnTo>
                  <a:lnTo>
                    <a:pt x="462" y="238"/>
                  </a:lnTo>
                  <a:lnTo>
                    <a:pt x="456" y="235"/>
                  </a:lnTo>
                  <a:lnTo>
                    <a:pt x="454" y="227"/>
                  </a:lnTo>
                  <a:lnTo>
                    <a:pt x="448" y="223"/>
                  </a:lnTo>
                  <a:lnTo>
                    <a:pt x="439" y="221"/>
                  </a:lnTo>
                  <a:lnTo>
                    <a:pt x="439" y="213"/>
                  </a:lnTo>
                  <a:lnTo>
                    <a:pt x="434" y="205"/>
                  </a:lnTo>
                  <a:lnTo>
                    <a:pt x="426" y="202"/>
                  </a:lnTo>
                  <a:lnTo>
                    <a:pt x="425" y="187"/>
                  </a:lnTo>
                  <a:lnTo>
                    <a:pt x="404" y="189"/>
                  </a:lnTo>
                  <a:lnTo>
                    <a:pt x="389" y="192"/>
                  </a:lnTo>
                  <a:lnTo>
                    <a:pt x="373" y="194"/>
                  </a:lnTo>
                  <a:lnTo>
                    <a:pt x="361" y="190"/>
                  </a:lnTo>
                  <a:lnTo>
                    <a:pt x="352" y="183"/>
                  </a:lnTo>
                  <a:lnTo>
                    <a:pt x="341" y="178"/>
                  </a:lnTo>
                  <a:lnTo>
                    <a:pt x="332" y="169"/>
                  </a:lnTo>
                  <a:lnTo>
                    <a:pt x="319" y="166"/>
                  </a:lnTo>
                  <a:lnTo>
                    <a:pt x="306" y="163"/>
                  </a:lnTo>
                  <a:lnTo>
                    <a:pt x="294" y="166"/>
                  </a:lnTo>
                  <a:lnTo>
                    <a:pt x="284" y="158"/>
                  </a:lnTo>
                  <a:lnTo>
                    <a:pt x="273" y="148"/>
                  </a:lnTo>
                  <a:lnTo>
                    <a:pt x="270" y="138"/>
                  </a:lnTo>
                  <a:lnTo>
                    <a:pt x="264" y="131"/>
                  </a:lnTo>
                  <a:lnTo>
                    <a:pt x="265" y="112"/>
                  </a:lnTo>
                  <a:lnTo>
                    <a:pt x="260" y="99"/>
                  </a:lnTo>
                  <a:lnTo>
                    <a:pt x="254" y="87"/>
                  </a:lnTo>
                  <a:lnTo>
                    <a:pt x="254" y="72"/>
                  </a:lnTo>
                  <a:lnTo>
                    <a:pt x="251" y="60"/>
                  </a:lnTo>
                  <a:lnTo>
                    <a:pt x="258" y="52"/>
                  </a:lnTo>
                  <a:lnTo>
                    <a:pt x="265" y="37"/>
                  </a:lnTo>
                  <a:lnTo>
                    <a:pt x="262" y="22"/>
                  </a:lnTo>
                  <a:lnTo>
                    <a:pt x="254" y="13"/>
                  </a:lnTo>
                  <a:lnTo>
                    <a:pt x="238" y="5"/>
                  </a:lnTo>
                  <a:lnTo>
                    <a:pt x="224" y="0"/>
                  </a:lnTo>
                  <a:lnTo>
                    <a:pt x="210" y="0"/>
                  </a:lnTo>
                  <a:lnTo>
                    <a:pt x="204" y="7"/>
                  </a:lnTo>
                  <a:lnTo>
                    <a:pt x="193" y="20"/>
                  </a:lnTo>
                  <a:lnTo>
                    <a:pt x="189" y="27"/>
                  </a:lnTo>
                  <a:lnTo>
                    <a:pt x="195" y="34"/>
                  </a:lnTo>
                  <a:lnTo>
                    <a:pt x="201" y="40"/>
                  </a:lnTo>
                  <a:lnTo>
                    <a:pt x="199" y="47"/>
                  </a:lnTo>
                  <a:lnTo>
                    <a:pt x="189" y="57"/>
                  </a:lnTo>
                  <a:lnTo>
                    <a:pt x="176" y="64"/>
                  </a:lnTo>
                  <a:lnTo>
                    <a:pt x="170" y="60"/>
                  </a:lnTo>
                  <a:lnTo>
                    <a:pt x="162" y="59"/>
                  </a:lnTo>
                  <a:lnTo>
                    <a:pt x="158" y="65"/>
                  </a:lnTo>
                  <a:lnTo>
                    <a:pt x="155" y="77"/>
                  </a:lnTo>
                  <a:lnTo>
                    <a:pt x="150" y="90"/>
                  </a:lnTo>
                  <a:lnTo>
                    <a:pt x="141" y="100"/>
                  </a:lnTo>
                  <a:lnTo>
                    <a:pt x="134" y="104"/>
                  </a:lnTo>
                  <a:lnTo>
                    <a:pt x="129" y="114"/>
                  </a:lnTo>
                  <a:lnTo>
                    <a:pt x="121" y="123"/>
                  </a:lnTo>
                  <a:lnTo>
                    <a:pt x="115" y="132"/>
                  </a:lnTo>
                  <a:lnTo>
                    <a:pt x="110" y="143"/>
                  </a:lnTo>
                  <a:lnTo>
                    <a:pt x="96" y="150"/>
                  </a:lnTo>
                  <a:lnTo>
                    <a:pt x="91" y="160"/>
                  </a:lnTo>
                  <a:lnTo>
                    <a:pt x="82" y="167"/>
                  </a:lnTo>
                  <a:lnTo>
                    <a:pt x="75" y="174"/>
                  </a:lnTo>
                  <a:lnTo>
                    <a:pt x="73" y="185"/>
                  </a:lnTo>
                  <a:lnTo>
                    <a:pt x="65" y="192"/>
                  </a:lnTo>
                  <a:lnTo>
                    <a:pt x="55" y="202"/>
                  </a:lnTo>
                  <a:lnTo>
                    <a:pt x="46" y="212"/>
                  </a:lnTo>
                  <a:lnTo>
                    <a:pt x="34" y="216"/>
                  </a:lnTo>
                  <a:lnTo>
                    <a:pt x="28" y="212"/>
                  </a:lnTo>
                  <a:lnTo>
                    <a:pt x="17" y="213"/>
                  </a:lnTo>
                  <a:lnTo>
                    <a:pt x="16" y="219"/>
                  </a:lnTo>
                  <a:lnTo>
                    <a:pt x="12" y="225"/>
                  </a:lnTo>
                  <a:lnTo>
                    <a:pt x="10" y="234"/>
                  </a:lnTo>
                  <a:lnTo>
                    <a:pt x="4" y="240"/>
                  </a:lnTo>
                  <a:lnTo>
                    <a:pt x="0" y="249"/>
                  </a:lnTo>
                  <a:lnTo>
                    <a:pt x="12" y="260"/>
                  </a:lnTo>
                  <a:lnTo>
                    <a:pt x="28" y="275"/>
                  </a:lnTo>
                  <a:lnTo>
                    <a:pt x="36" y="283"/>
                  </a:lnTo>
                  <a:lnTo>
                    <a:pt x="46" y="284"/>
                  </a:lnTo>
                  <a:lnTo>
                    <a:pt x="52" y="283"/>
                  </a:lnTo>
                  <a:lnTo>
                    <a:pt x="60" y="288"/>
                  </a:lnTo>
                  <a:lnTo>
                    <a:pt x="60" y="295"/>
                  </a:lnTo>
                  <a:lnTo>
                    <a:pt x="65" y="300"/>
                  </a:lnTo>
                  <a:lnTo>
                    <a:pt x="73" y="308"/>
                  </a:lnTo>
                  <a:lnTo>
                    <a:pt x="81" y="305"/>
                  </a:lnTo>
                  <a:lnTo>
                    <a:pt x="86" y="313"/>
                  </a:lnTo>
                  <a:lnTo>
                    <a:pt x="96" y="311"/>
                  </a:lnTo>
                  <a:lnTo>
                    <a:pt x="105" y="308"/>
                  </a:lnTo>
                  <a:lnTo>
                    <a:pt x="112" y="315"/>
                  </a:lnTo>
                  <a:lnTo>
                    <a:pt x="121" y="312"/>
                  </a:lnTo>
                  <a:lnTo>
                    <a:pt x="126" y="320"/>
                  </a:lnTo>
                  <a:lnTo>
                    <a:pt x="135" y="319"/>
                  </a:lnTo>
                  <a:lnTo>
                    <a:pt x="141" y="325"/>
                  </a:lnTo>
                  <a:lnTo>
                    <a:pt x="151" y="323"/>
                  </a:lnTo>
                  <a:lnTo>
                    <a:pt x="158" y="322"/>
                  </a:lnTo>
                  <a:lnTo>
                    <a:pt x="172" y="330"/>
                  </a:lnTo>
                  <a:lnTo>
                    <a:pt x="167" y="337"/>
                  </a:lnTo>
                  <a:lnTo>
                    <a:pt x="176" y="339"/>
                  </a:lnTo>
                  <a:lnTo>
                    <a:pt x="178" y="345"/>
                  </a:lnTo>
                  <a:lnTo>
                    <a:pt x="175" y="353"/>
                  </a:lnTo>
                  <a:lnTo>
                    <a:pt x="175" y="359"/>
                  </a:lnTo>
                  <a:lnTo>
                    <a:pt x="183" y="362"/>
                  </a:lnTo>
                  <a:lnTo>
                    <a:pt x="191" y="359"/>
                  </a:lnTo>
                  <a:lnTo>
                    <a:pt x="198" y="358"/>
                  </a:lnTo>
                  <a:lnTo>
                    <a:pt x="200" y="365"/>
                  </a:lnTo>
                  <a:lnTo>
                    <a:pt x="207" y="362"/>
                  </a:lnTo>
                  <a:lnTo>
                    <a:pt x="214" y="368"/>
                  </a:lnTo>
                  <a:lnTo>
                    <a:pt x="216" y="377"/>
                  </a:lnTo>
                  <a:lnTo>
                    <a:pt x="212" y="385"/>
                  </a:lnTo>
                  <a:lnTo>
                    <a:pt x="216" y="394"/>
                  </a:lnTo>
                  <a:lnTo>
                    <a:pt x="219" y="399"/>
                  </a:lnTo>
                  <a:lnTo>
                    <a:pt x="226" y="395"/>
                  </a:lnTo>
                  <a:lnTo>
                    <a:pt x="237" y="401"/>
                  </a:lnTo>
                  <a:lnTo>
                    <a:pt x="251" y="401"/>
                  </a:lnTo>
                  <a:lnTo>
                    <a:pt x="259" y="403"/>
                  </a:lnTo>
                  <a:lnTo>
                    <a:pt x="266" y="409"/>
                  </a:lnTo>
                  <a:lnTo>
                    <a:pt x="267" y="418"/>
                  </a:lnTo>
                  <a:lnTo>
                    <a:pt x="264" y="421"/>
                  </a:lnTo>
                  <a:lnTo>
                    <a:pt x="265" y="428"/>
                  </a:lnTo>
                  <a:lnTo>
                    <a:pt x="271" y="433"/>
                  </a:lnTo>
                  <a:lnTo>
                    <a:pt x="271" y="440"/>
                  </a:lnTo>
                  <a:lnTo>
                    <a:pt x="278" y="440"/>
                  </a:lnTo>
                  <a:lnTo>
                    <a:pt x="281" y="448"/>
                  </a:lnTo>
                  <a:lnTo>
                    <a:pt x="286" y="451"/>
                  </a:lnTo>
                  <a:lnTo>
                    <a:pt x="295" y="446"/>
                  </a:lnTo>
                  <a:lnTo>
                    <a:pt x="300" y="450"/>
                  </a:lnTo>
                  <a:lnTo>
                    <a:pt x="306" y="444"/>
                  </a:lnTo>
                  <a:lnTo>
                    <a:pt x="311" y="448"/>
                  </a:lnTo>
                  <a:lnTo>
                    <a:pt x="319" y="446"/>
                  </a:lnTo>
                  <a:lnTo>
                    <a:pt x="333" y="452"/>
                  </a:lnTo>
                  <a:lnTo>
                    <a:pt x="330" y="458"/>
                  </a:lnTo>
                  <a:lnTo>
                    <a:pt x="338" y="463"/>
                  </a:lnTo>
                  <a:lnTo>
                    <a:pt x="346" y="462"/>
                  </a:lnTo>
                  <a:lnTo>
                    <a:pt x="350" y="468"/>
                  </a:lnTo>
                  <a:lnTo>
                    <a:pt x="356" y="463"/>
                  </a:lnTo>
                  <a:lnTo>
                    <a:pt x="365" y="468"/>
                  </a:lnTo>
                  <a:lnTo>
                    <a:pt x="370" y="471"/>
                  </a:lnTo>
                  <a:lnTo>
                    <a:pt x="376" y="477"/>
                  </a:lnTo>
                  <a:lnTo>
                    <a:pt x="386" y="481"/>
                  </a:lnTo>
                  <a:lnTo>
                    <a:pt x="400" y="485"/>
                  </a:lnTo>
                  <a:lnTo>
                    <a:pt x="412" y="487"/>
                  </a:lnTo>
                  <a:lnTo>
                    <a:pt x="419" y="484"/>
                  </a:lnTo>
                  <a:lnTo>
                    <a:pt x="427" y="486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C48C1BA9-952E-4B75-878E-2D4D04A23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" y="2268"/>
              <a:ext cx="803" cy="521"/>
            </a:xfrm>
            <a:custGeom>
              <a:avLst/>
              <a:gdLst>
                <a:gd name="T0" fmla="*/ 448 w 803"/>
                <a:gd name="T1" fmla="*/ 492 h 521"/>
                <a:gd name="T2" fmla="*/ 472 w 803"/>
                <a:gd name="T3" fmla="*/ 501 h 521"/>
                <a:gd name="T4" fmla="*/ 511 w 803"/>
                <a:gd name="T5" fmla="*/ 513 h 521"/>
                <a:gd name="T6" fmla="*/ 544 w 803"/>
                <a:gd name="T7" fmla="*/ 501 h 521"/>
                <a:gd name="T8" fmla="*/ 575 w 803"/>
                <a:gd name="T9" fmla="*/ 503 h 521"/>
                <a:gd name="T10" fmla="*/ 612 w 803"/>
                <a:gd name="T11" fmla="*/ 521 h 521"/>
                <a:gd name="T12" fmla="*/ 639 w 803"/>
                <a:gd name="T13" fmla="*/ 507 h 521"/>
                <a:gd name="T14" fmla="*/ 669 w 803"/>
                <a:gd name="T15" fmla="*/ 492 h 521"/>
                <a:gd name="T16" fmla="*/ 692 w 803"/>
                <a:gd name="T17" fmla="*/ 465 h 521"/>
                <a:gd name="T18" fmla="*/ 722 w 803"/>
                <a:gd name="T19" fmla="*/ 456 h 521"/>
                <a:gd name="T20" fmla="*/ 747 w 803"/>
                <a:gd name="T21" fmla="*/ 427 h 521"/>
                <a:gd name="T22" fmla="*/ 775 w 803"/>
                <a:gd name="T23" fmla="*/ 408 h 521"/>
                <a:gd name="T24" fmla="*/ 800 w 803"/>
                <a:gd name="T25" fmla="*/ 389 h 521"/>
                <a:gd name="T26" fmla="*/ 776 w 803"/>
                <a:gd name="T27" fmla="*/ 391 h 521"/>
                <a:gd name="T28" fmla="*/ 751 w 803"/>
                <a:gd name="T29" fmla="*/ 383 h 521"/>
                <a:gd name="T30" fmla="*/ 730 w 803"/>
                <a:gd name="T31" fmla="*/ 363 h 521"/>
                <a:gd name="T32" fmla="*/ 708 w 803"/>
                <a:gd name="T33" fmla="*/ 350 h 521"/>
                <a:gd name="T34" fmla="*/ 694 w 803"/>
                <a:gd name="T35" fmla="*/ 331 h 521"/>
                <a:gd name="T36" fmla="*/ 672 w 803"/>
                <a:gd name="T37" fmla="*/ 311 h 521"/>
                <a:gd name="T38" fmla="*/ 651 w 803"/>
                <a:gd name="T39" fmla="*/ 306 h 521"/>
                <a:gd name="T40" fmla="*/ 633 w 803"/>
                <a:gd name="T41" fmla="*/ 284 h 521"/>
                <a:gd name="T42" fmla="*/ 609 w 803"/>
                <a:gd name="T43" fmla="*/ 264 h 521"/>
                <a:gd name="T44" fmla="*/ 570 w 803"/>
                <a:gd name="T45" fmla="*/ 254 h 521"/>
                <a:gd name="T46" fmla="*/ 552 w 803"/>
                <a:gd name="T47" fmla="*/ 265 h 521"/>
                <a:gd name="T48" fmla="*/ 533 w 803"/>
                <a:gd name="T49" fmla="*/ 286 h 521"/>
                <a:gd name="T50" fmla="*/ 498 w 803"/>
                <a:gd name="T51" fmla="*/ 276 h 521"/>
                <a:gd name="T52" fmla="*/ 463 w 803"/>
                <a:gd name="T53" fmla="*/ 249 h 521"/>
                <a:gd name="T54" fmla="*/ 448 w 803"/>
                <a:gd name="T55" fmla="*/ 223 h 521"/>
                <a:gd name="T56" fmla="*/ 426 w 803"/>
                <a:gd name="T57" fmla="*/ 202 h 521"/>
                <a:gd name="T58" fmla="*/ 373 w 803"/>
                <a:gd name="T59" fmla="*/ 194 h 521"/>
                <a:gd name="T60" fmla="*/ 332 w 803"/>
                <a:gd name="T61" fmla="*/ 169 h 521"/>
                <a:gd name="T62" fmla="*/ 284 w 803"/>
                <a:gd name="T63" fmla="*/ 158 h 521"/>
                <a:gd name="T64" fmla="*/ 265 w 803"/>
                <a:gd name="T65" fmla="*/ 112 h 521"/>
                <a:gd name="T66" fmla="*/ 251 w 803"/>
                <a:gd name="T67" fmla="*/ 60 h 521"/>
                <a:gd name="T68" fmla="*/ 254 w 803"/>
                <a:gd name="T69" fmla="*/ 13 h 521"/>
                <a:gd name="T70" fmla="*/ 204 w 803"/>
                <a:gd name="T71" fmla="*/ 7 h 521"/>
                <a:gd name="T72" fmla="*/ 201 w 803"/>
                <a:gd name="T73" fmla="*/ 40 h 521"/>
                <a:gd name="T74" fmla="*/ 170 w 803"/>
                <a:gd name="T75" fmla="*/ 60 h 521"/>
                <a:gd name="T76" fmla="*/ 150 w 803"/>
                <a:gd name="T77" fmla="*/ 90 h 521"/>
                <a:gd name="T78" fmla="*/ 121 w 803"/>
                <a:gd name="T79" fmla="*/ 123 h 521"/>
                <a:gd name="T80" fmla="*/ 91 w 803"/>
                <a:gd name="T81" fmla="*/ 160 h 521"/>
                <a:gd name="T82" fmla="*/ 65 w 803"/>
                <a:gd name="T83" fmla="*/ 192 h 521"/>
                <a:gd name="T84" fmla="*/ 28 w 803"/>
                <a:gd name="T85" fmla="*/ 212 h 521"/>
                <a:gd name="T86" fmla="*/ 10 w 803"/>
                <a:gd name="T87" fmla="*/ 234 h 521"/>
                <a:gd name="T88" fmla="*/ 28 w 803"/>
                <a:gd name="T89" fmla="*/ 275 h 521"/>
                <a:gd name="T90" fmla="*/ 60 w 803"/>
                <a:gd name="T91" fmla="*/ 288 h 521"/>
                <a:gd name="T92" fmla="*/ 81 w 803"/>
                <a:gd name="T93" fmla="*/ 305 h 521"/>
                <a:gd name="T94" fmla="*/ 112 w 803"/>
                <a:gd name="T95" fmla="*/ 315 h 521"/>
                <a:gd name="T96" fmla="*/ 141 w 803"/>
                <a:gd name="T97" fmla="*/ 325 h 521"/>
                <a:gd name="T98" fmla="*/ 167 w 803"/>
                <a:gd name="T99" fmla="*/ 337 h 521"/>
                <a:gd name="T100" fmla="*/ 175 w 803"/>
                <a:gd name="T101" fmla="*/ 359 h 521"/>
                <a:gd name="T102" fmla="*/ 200 w 803"/>
                <a:gd name="T103" fmla="*/ 365 h 521"/>
                <a:gd name="T104" fmla="*/ 212 w 803"/>
                <a:gd name="T105" fmla="*/ 385 h 521"/>
                <a:gd name="T106" fmla="*/ 237 w 803"/>
                <a:gd name="T107" fmla="*/ 401 h 521"/>
                <a:gd name="T108" fmla="*/ 267 w 803"/>
                <a:gd name="T109" fmla="*/ 418 h 521"/>
                <a:gd name="T110" fmla="*/ 271 w 803"/>
                <a:gd name="T111" fmla="*/ 440 h 521"/>
                <a:gd name="T112" fmla="*/ 295 w 803"/>
                <a:gd name="T113" fmla="*/ 446 h 521"/>
                <a:gd name="T114" fmla="*/ 319 w 803"/>
                <a:gd name="T115" fmla="*/ 446 h 521"/>
                <a:gd name="T116" fmla="*/ 346 w 803"/>
                <a:gd name="T117" fmla="*/ 462 h 521"/>
                <a:gd name="T118" fmla="*/ 370 w 803"/>
                <a:gd name="T119" fmla="*/ 471 h 521"/>
                <a:gd name="T120" fmla="*/ 412 w 803"/>
                <a:gd name="T121" fmla="*/ 487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3" h="521">
                  <a:moveTo>
                    <a:pt x="427" y="486"/>
                  </a:moveTo>
                  <a:lnTo>
                    <a:pt x="436" y="486"/>
                  </a:lnTo>
                  <a:lnTo>
                    <a:pt x="436" y="492"/>
                  </a:lnTo>
                  <a:lnTo>
                    <a:pt x="448" y="492"/>
                  </a:lnTo>
                  <a:lnTo>
                    <a:pt x="448" y="501"/>
                  </a:lnTo>
                  <a:lnTo>
                    <a:pt x="456" y="498"/>
                  </a:lnTo>
                  <a:lnTo>
                    <a:pt x="463" y="504"/>
                  </a:lnTo>
                  <a:lnTo>
                    <a:pt x="472" y="501"/>
                  </a:lnTo>
                  <a:lnTo>
                    <a:pt x="483" y="498"/>
                  </a:lnTo>
                  <a:lnTo>
                    <a:pt x="490" y="503"/>
                  </a:lnTo>
                  <a:lnTo>
                    <a:pt x="499" y="506"/>
                  </a:lnTo>
                  <a:lnTo>
                    <a:pt x="511" y="513"/>
                  </a:lnTo>
                  <a:lnTo>
                    <a:pt x="523" y="510"/>
                  </a:lnTo>
                  <a:lnTo>
                    <a:pt x="529" y="504"/>
                  </a:lnTo>
                  <a:lnTo>
                    <a:pt x="534" y="498"/>
                  </a:lnTo>
                  <a:lnTo>
                    <a:pt x="544" y="501"/>
                  </a:lnTo>
                  <a:lnTo>
                    <a:pt x="552" y="509"/>
                  </a:lnTo>
                  <a:lnTo>
                    <a:pt x="562" y="512"/>
                  </a:lnTo>
                  <a:lnTo>
                    <a:pt x="569" y="510"/>
                  </a:lnTo>
                  <a:lnTo>
                    <a:pt x="575" y="503"/>
                  </a:lnTo>
                  <a:lnTo>
                    <a:pt x="583" y="505"/>
                  </a:lnTo>
                  <a:lnTo>
                    <a:pt x="594" y="511"/>
                  </a:lnTo>
                  <a:lnTo>
                    <a:pt x="604" y="519"/>
                  </a:lnTo>
                  <a:lnTo>
                    <a:pt x="612" y="521"/>
                  </a:lnTo>
                  <a:lnTo>
                    <a:pt x="620" y="512"/>
                  </a:lnTo>
                  <a:lnTo>
                    <a:pt x="626" y="503"/>
                  </a:lnTo>
                  <a:lnTo>
                    <a:pt x="631" y="500"/>
                  </a:lnTo>
                  <a:lnTo>
                    <a:pt x="639" y="507"/>
                  </a:lnTo>
                  <a:lnTo>
                    <a:pt x="646" y="510"/>
                  </a:lnTo>
                  <a:lnTo>
                    <a:pt x="656" y="511"/>
                  </a:lnTo>
                  <a:lnTo>
                    <a:pt x="663" y="500"/>
                  </a:lnTo>
                  <a:lnTo>
                    <a:pt x="669" y="492"/>
                  </a:lnTo>
                  <a:lnTo>
                    <a:pt x="670" y="482"/>
                  </a:lnTo>
                  <a:lnTo>
                    <a:pt x="674" y="473"/>
                  </a:lnTo>
                  <a:lnTo>
                    <a:pt x="683" y="468"/>
                  </a:lnTo>
                  <a:lnTo>
                    <a:pt x="692" y="465"/>
                  </a:lnTo>
                  <a:lnTo>
                    <a:pt x="694" y="456"/>
                  </a:lnTo>
                  <a:lnTo>
                    <a:pt x="699" y="450"/>
                  </a:lnTo>
                  <a:lnTo>
                    <a:pt x="711" y="454"/>
                  </a:lnTo>
                  <a:lnTo>
                    <a:pt x="722" y="456"/>
                  </a:lnTo>
                  <a:lnTo>
                    <a:pt x="734" y="451"/>
                  </a:lnTo>
                  <a:lnTo>
                    <a:pt x="737" y="440"/>
                  </a:lnTo>
                  <a:lnTo>
                    <a:pt x="741" y="432"/>
                  </a:lnTo>
                  <a:lnTo>
                    <a:pt x="747" y="427"/>
                  </a:lnTo>
                  <a:lnTo>
                    <a:pt x="755" y="424"/>
                  </a:lnTo>
                  <a:lnTo>
                    <a:pt x="759" y="415"/>
                  </a:lnTo>
                  <a:lnTo>
                    <a:pt x="762" y="411"/>
                  </a:lnTo>
                  <a:lnTo>
                    <a:pt x="775" y="408"/>
                  </a:lnTo>
                  <a:lnTo>
                    <a:pt x="793" y="408"/>
                  </a:lnTo>
                  <a:lnTo>
                    <a:pt x="802" y="404"/>
                  </a:lnTo>
                  <a:lnTo>
                    <a:pt x="803" y="395"/>
                  </a:lnTo>
                  <a:lnTo>
                    <a:pt x="800" y="389"/>
                  </a:lnTo>
                  <a:lnTo>
                    <a:pt x="793" y="388"/>
                  </a:lnTo>
                  <a:lnTo>
                    <a:pt x="786" y="391"/>
                  </a:lnTo>
                  <a:lnTo>
                    <a:pt x="782" y="388"/>
                  </a:lnTo>
                  <a:lnTo>
                    <a:pt x="776" y="391"/>
                  </a:lnTo>
                  <a:lnTo>
                    <a:pt x="771" y="388"/>
                  </a:lnTo>
                  <a:lnTo>
                    <a:pt x="765" y="385"/>
                  </a:lnTo>
                  <a:lnTo>
                    <a:pt x="758" y="386"/>
                  </a:lnTo>
                  <a:lnTo>
                    <a:pt x="751" y="383"/>
                  </a:lnTo>
                  <a:lnTo>
                    <a:pt x="745" y="377"/>
                  </a:lnTo>
                  <a:lnTo>
                    <a:pt x="741" y="371"/>
                  </a:lnTo>
                  <a:lnTo>
                    <a:pt x="735" y="369"/>
                  </a:lnTo>
                  <a:lnTo>
                    <a:pt x="730" y="363"/>
                  </a:lnTo>
                  <a:lnTo>
                    <a:pt x="723" y="365"/>
                  </a:lnTo>
                  <a:lnTo>
                    <a:pt x="721" y="356"/>
                  </a:lnTo>
                  <a:lnTo>
                    <a:pt x="717" y="348"/>
                  </a:lnTo>
                  <a:lnTo>
                    <a:pt x="708" y="350"/>
                  </a:lnTo>
                  <a:lnTo>
                    <a:pt x="708" y="343"/>
                  </a:lnTo>
                  <a:lnTo>
                    <a:pt x="705" y="334"/>
                  </a:lnTo>
                  <a:lnTo>
                    <a:pt x="699" y="336"/>
                  </a:lnTo>
                  <a:lnTo>
                    <a:pt x="694" y="331"/>
                  </a:lnTo>
                  <a:lnTo>
                    <a:pt x="693" y="323"/>
                  </a:lnTo>
                  <a:lnTo>
                    <a:pt x="685" y="323"/>
                  </a:lnTo>
                  <a:lnTo>
                    <a:pt x="681" y="315"/>
                  </a:lnTo>
                  <a:lnTo>
                    <a:pt x="672" y="311"/>
                  </a:lnTo>
                  <a:lnTo>
                    <a:pt x="665" y="313"/>
                  </a:lnTo>
                  <a:lnTo>
                    <a:pt x="659" y="315"/>
                  </a:lnTo>
                  <a:lnTo>
                    <a:pt x="656" y="304"/>
                  </a:lnTo>
                  <a:lnTo>
                    <a:pt x="651" y="306"/>
                  </a:lnTo>
                  <a:lnTo>
                    <a:pt x="645" y="301"/>
                  </a:lnTo>
                  <a:lnTo>
                    <a:pt x="645" y="294"/>
                  </a:lnTo>
                  <a:lnTo>
                    <a:pt x="640" y="286"/>
                  </a:lnTo>
                  <a:lnTo>
                    <a:pt x="633" y="284"/>
                  </a:lnTo>
                  <a:lnTo>
                    <a:pt x="629" y="276"/>
                  </a:lnTo>
                  <a:lnTo>
                    <a:pt x="626" y="266"/>
                  </a:lnTo>
                  <a:lnTo>
                    <a:pt x="616" y="258"/>
                  </a:lnTo>
                  <a:lnTo>
                    <a:pt x="609" y="264"/>
                  </a:lnTo>
                  <a:lnTo>
                    <a:pt x="594" y="256"/>
                  </a:lnTo>
                  <a:lnTo>
                    <a:pt x="585" y="249"/>
                  </a:lnTo>
                  <a:lnTo>
                    <a:pt x="576" y="246"/>
                  </a:lnTo>
                  <a:lnTo>
                    <a:pt x="570" y="254"/>
                  </a:lnTo>
                  <a:lnTo>
                    <a:pt x="564" y="247"/>
                  </a:lnTo>
                  <a:lnTo>
                    <a:pt x="558" y="249"/>
                  </a:lnTo>
                  <a:lnTo>
                    <a:pt x="551" y="257"/>
                  </a:lnTo>
                  <a:lnTo>
                    <a:pt x="552" y="265"/>
                  </a:lnTo>
                  <a:lnTo>
                    <a:pt x="547" y="272"/>
                  </a:lnTo>
                  <a:lnTo>
                    <a:pt x="540" y="274"/>
                  </a:lnTo>
                  <a:lnTo>
                    <a:pt x="534" y="278"/>
                  </a:lnTo>
                  <a:lnTo>
                    <a:pt x="533" y="286"/>
                  </a:lnTo>
                  <a:lnTo>
                    <a:pt x="523" y="290"/>
                  </a:lnTo>
                  <a:lnTo>
                    <a:pt x="512" y="288"/>
                  </a:lnTo>
                  <a:lnTo>
                    <a:pt x="505" y="284"/>
                  </a:lnTo>
                  <a:lnTo>
                    <a:pt x="498" y="276"/>
                  </a:lnTo>
                  <a:lnTo>
                    <a:pt x="487" y="271"/>
                  </a:lnTo>
                  <a:lnTo>
                    <a:pt x="480" y="266"/>
                  </a:lnTo>
                  <a:lnTo>
                    <a:pt x="469" y="257"/>
                  </a:lnTo>
                  <a:lnTo>
                    <a:pt x="463" y="249"/>
                  </a:lnTo>
                  <a:lnTo>
                    <a:pt x="462" y="238"/>
                  </a:lnTo>
                  <a:lnTo>
                    <a:pt x="456" y="235"/>
                  </a:lnTo>
                  <a:lnTo>
                    <a:pt x="454" y="227"/>
                  </a:lnTo>
                  <a:lnTo>
                    <a:pt x="448" y="223"/>
                  </a:lnTo>
                  <a:lnTo>
                    <a:pt x="439" y="221"/>
                  </a:lnTo>
                  <a:lnTo>
                    <a:pt x="439" y="213"/>
                  </a:lnTo>
                  <a:lnTo>
                    <a:pt x="434" y="205"/>
                  </a:lnTo>
                  <a:lnTo>
                    <a:pt x="426" y="202"/>
                  </a:lnTo>
                  <a:lnTo>
                    <a:pt x="425" y="187"/>
                  </a:lnTo>
                  <a:lnTo>
                    <a:pt x="404" y="189"/>
                  </a:lnTo>
                  <a:lnTo>
                    <a:pt x="389" y="192"/>
                  </a:lnTo>
                  <a:lnTo>
                    <a:pt x="373" y="194"/>
                  </a:lnTo>
                  <a:lnTo>
                    <a:pt x="361" y="190"/>
                  </a:lnTo>
                  <a:lnTo>
                    <a:pt x="352" y="183"/>
                  </a:lnTo>
                  <a:lnTo>
                    <a:pt x="341" y="178"/>
                  </a:lnTo>
                  <a:lnTo>
                    <a:pt x="332" y="169"/>
                  </a:lnTo>
                  <a:lnTo>
                    <a:pt x="319" y="166"/>
                  </a:lnTo>
                  <a:lnTo>
                    <a:pt x="306" y="163"/>
                  </a:lnTo>
                  <a:lnTo>
                    <a:pt x="294" y="166"/>
                  </a:lnTo>
                  <a:lnTo>
                    <a:pt x="284" y="158"/>
                  </a:lnTo>
                  <a:lnTo>
                    <a:pt x="273" y="148"/>
                  </a:lnTo>
                  <a:lnTo>
                    <a:pt x="270" y="138"/>
                  </a:lnTo>
                  <a:lnTo>
                    <a:pt x="264" y="131"/>
                  </a:lnTo>
                  <a:lnTo>
                    <a:pt x="265" y="112"/>
                  </a:lnTo>
                  <a:lnTo>
                    <a:pt x="260" y="99"/>
                  </a:lnTo>
                  <a:lnTo>
                    <a:pt x="254" y="87"/>
                  </a:lnTo>
                  <a:lnTo>
                    <a:pt x="254" y="72"/>
                  </a:lnTo>
                  <a:lnTo>
                    <a:pt x="251" y="60"/>
                  </a:lnTo>
                  <a:lnTo>
                    <a:pt x="258" y="52"/>
                  </a:lnTo>
                  <a:lnTo>
                    <a:pt x="265" y="37"/>
                  </a:lnTo>
                  <a:lnTo>
                    <a:pt x="262" y="22"/>
                  </a:lnTo>
                  <a:lnTo>
                    <a:pt x="254" y="13"/>
                  </a:lnTo>
                  <a:lnTo>
                    <a:pt x="238" y="5"/>
                  </a:lnTo>
                  <a:lnTo>
                    <a:pt x="224" y="0"/>
                  </a:lnTo>
                  <a:lnTo>
                    <a:pt x="210" y="0"/>
                  </a:lnTo>
                  <a:lnTo>
                    <a:pt x="204" y="7"/>
                  </a:lnTo>
                  <a:lnTo>
                    <a:pt x="193" y="20"/>
                  </a:lnTo>
                  <a:lnTo>
                    <a:pt x="189" y="27"/>
                  </a:lnTo>
                  <a:lnTo>
                    <a:pt x="195" y="34"/>
                  </a:lnTo>
                  <a:lnTo>
                    <a:pt x="201" y="40"/>
                  </a:lnTo>
                  <a:lnTo>
                    <a:pt x="199" y="47"/>
                  </a:lnTo>
                  <a:lnTo>
                    <a:pt x="189" y="57"/>
                  </a:lnTo>
                  <a:lnTo>
                    <a:pt x="176" y="64"/>
                  </a:lnTo>
                  <a:lnTo>
                    <a:pt x="170" y="60"/>
                  </a:lnTo>
                  <a:lnTo>
                    <a:pt x="162" y="59"/>
                  </a:lnTo>
                  <a:lnTo>
                    <a:pt x="158" y="65"/>
                  </a:lnTo>
                  <a:lnTo>
                    <a:pt x="155" y="77"/>
                  </a:lnTo>
                  <a:lnTo>
                    <a:pt x="150" y="90"/>
                  </a:lnTo>
                  <a:lnTo>
                    <a:pt x="141" y="100"/>
                  </a:lnTo>
                  <a:lnTo>
                    <a:pt x="134" y="104"/>
                  </a:lnTo>
                  <a:lnTo>
                    <a:pt x="129" y="114"/>
                  </a:lnTo>
                  <a:lnTo>
                    <a:pt x="121" y="123"/>
                  </a:lnTo>
                  <a:lnTo>
                    <a:pt x="115" y="132"/>
                  </a:lnTo>
                  <a:lnTo>
                    <a:pt x="110" y="143"/>
                  </a:lnTo>
                  <a:lnTo>
                    <a:pt x="96" y="150"/>
                  </a:lnTo>
                  <a:lnTo>
                    <a:pt x="91" y="160"/>
                  </a:lnTo>
                  <a:lnTo>
                    <a:pt x="82" y="167"/>
                  </a:lnTo>
                  <a:lnTo>
                    <a:pt x="75" y="174"/>
                  </a:lnTo>
                  <a:lnTo>
                    <a:pt x="73" y="185"/>
                  </a:lnTo>
                  <a:lnTo>
                    <a:pt x="65" y="192"/>
                  </a:lnTo>
                  <a:lnTo>
                    <a:pt x="55" y="202"/>
                  </a:lnTo>
                  <a:lnTo>
                    <a:pt x="46" y="212"/>
                  </a:lnTo>
                  <a:lnTo>
                    <a:pt x="34" y="216"/>
                  </a:lnTo>
                  <a:lnTo>
                    <a:pt x="28" y="212"/>
                  </a:lnTo>
                  <a:lnTo>
                    <a:pt x="17" y="213"/>
                  </a:lnTo>
                  <a:lnTo>
                    <a:pt x="16" y="219"/>
                  </a:lnTo>
                  <a:lnTo>
                    <a:pt x="12" y="225"/>
                  </a:lnTo>
                  <a:lnTo>
                    <a:pt x="10" y="234"/>
                  </a:lnTo>
                  <a:lnTo>
                    <a:pt x="4" y="240"/>
                  </a:lnTo>
                  <a:lnTo>
                    <a:pt x="0" y="249"/>
                  </a:lnTo>
                  <a:lnTo>
                    <a:pt x="12" y="260"/>
                  </a:lnTo>
                  <a:lnTo>
                    <a:pt x="28" y="275"/>
                  </a:lnTo>
                  <a:lnTo>
                    <a:pt x="36" y="283"/>
                  </a:lnTo>
                  <a:lnTo>
                    <a:pt x="46" y="284"/>
                  </a:lnTo>
                  <a:lnTo>
                    <a:pt x="52" y="283"/>
                  </a:lnTo>
                  <a:lnTo>
                    <a:pt x="60" y="288"/>
                  </a:lnTo>
                  <a:lnTo>
                    <a:pt x="60" y="295"/>
                  </a:lnTo>
                  <a:lnTo>
                    <a:pt x="65" y="300"/>
                  </a:lnTo>
                  <a:lnTo>
                    <a:pt x="73" y="308"/>
                  </a:lnTo>
                  <a:lnTo>
                    <a:pt x="81" y="305"/>
                  </a:lnTo>
                  <a:lnTo>
                    <a:pt x="86" y="313"/>
                  </a:lnTo>
                  <a:lnTo>
                    <a:pt x="96" y="311"/>
                  </a:lnTo>
                  <a:lnTo>
                    <a:pt x="105" y="308"/>
                  </a:lnTo>
                  <a:lnTo>
                    <a:pt x="112" y="315"/>
                  </a:lnTo>
                  <a:lnTo>
                    <a:pt x="121" y="312"/>
                  </a:lnTo>
                  <a:lnTo>
                    <a:pt x="126" y="320"/>
                  </a:lnTo>
                  <a:lnTo>
                    <a:pt x="135" y="319"/>
                  </a:lnTo>
                  <a:lnTo>
                    <a:pt x="141" y="325"/>
                  </a:lnTo>
                  <a:lnTo>
                    <a:pt x="151" y="323"/>
                  </a:lnTo>
                  <a:lnTo>
                    <a:pt x="158" y="322"/>
                  </a:lnTo>
                  <a:lnTo>
                    <a:pt x="172" y="330"/>
                  </a:lnTo>
                  <a:lnTo>
                    <a:pt x="167" y="337"/>
                  </a:lnTo>
                  <a:lnTo>
                    <a:pt x="176" y="339"/>
                  </a:lnTo>
                  <a:lnTo>
                    <a:pt x="178" y="345"/>
                  </a:lnTo>
                  <a:lnTo>
                    <a:pt x="175" y="353"/>
                  </a:lnTo>
                  <a:lnTo>
                    <a:pt x="175" y="359"/>
                  </a:lnTo>
                  <a:lnTo>
                    <a:pt x="183" y="362"/>
                  </a:lnTo>
                  <a:lnTo>
                    <a:pt x="191" y="359"/>
                  </a:lnTo>
                  <a:lnTo>
                    <a:pt x="198" y="358"/>
                  </a:lnTo>
                  <a:lnTo>
                    <a:pt x="200" y="365"/>
                  </a:lnTo>
                  <a:lnTo>
                    <a:pt x="207" y="362"/>
                  </a:lnTo>
                  <a:lnTo>
                    <a:pt x="214" y="368"/>
                  </a:lnTo>
                  <a:lnTo>
                    <a:pt x="216" y="377"/>
                  </a:lnTo>
                  <a:lnTo>
                    <a:pt x="212" y="385"/>
                  </a:lnTo>
                  <a:lnTo>
                    <a:pt x="216" y="394"/>
                  </a:lnTo>
                  <a:lnTo>
                    <a:pt x="219" y="399"/>
                  </a:lnTo>
                  <a:lnTo>
                    <a:pt x="226" y="395"/>
                  </a:lnTo>
                  <a:lnTo>
                    <a:pt x="237" y="401"/>
                  </a:lnTo>
                  <a:lnTo>
                    <a:pt x="251" y="401"/>
                  </a:lnTo>
                  <a:lnTo>
                    <a:pt x="259" y="403"/>
                  </a:lnTo>
                  <a:lnTo>
                    <a:pt x="266" y="409"/>
                  </a:lnTo>
                  <a:lnTo>
                    <a:pt x="267" y="418"/>
                  </a:lnTo>
                  <a:lnTo>
                    <a:pt x="264" y="421"/>
                  </a:lnTo>
                  <a:lnTo>
                    <a:pt x="265" y="428"/>
                  </a:lnTo>
                  <a:lnTo>
                    <a:pt x="271" y="433"/>
                  </a:lnTo>
                  <a:lnTo>
                    <a:pt x="271" y="440"/>
                  </a:lnTo>
                  <a:lnTo>
                    <a:pt x="278" y="440"/>
                  </a:lnTo>
                  <a:lnTo>
                    <a:pt x="281" y="448"/>
                  </a:lnTo>
                  <a:lnTo>
                    <a:pt x="286" y="451"/>
                  </a:lnTo>
                  <a:lnTo>
                    <a:pt x="295" y="446"/>
                  </a:lnTo>
                  <a:lnTo>
                    <a:pt x="300" y="450"/>
                  </a:lnTo>
                  <a:lnTo>
                    <a:pt x="306" y="444"/>
                  </a:lnTo>
                  <a:lnTo>
                    <a:pt x="311" y="448"/>
                  </a:lnTo>
                  <a:lnTo>
                    <a:pt x="319" y="446"/>
                  </a:lnTo>
                  <a:lnTo>
                    <a:pt x="333" y="452"/>
                  </a:lnTo>
                  <a:lnTo>
                    <a:pt x="330" y="458"/>
                  </a:lnTo>
                  <a:lnTo>
                    <a:pt x="338" y="463"/>
                  </a:lnTo>
                  <a:lnTo>
                    <a:pt x="346" y="462"/>
                  </a:lnTo>
                  <a:lnTo>
                    <a:pt x="350" y="468"/>
                  </a:lnTo>
                  <a:lnTo>
                    <a:pt x="356" y="463"/>
                  </a:lnTo>
                  <a:lnTo>
                    <a:pt x="365" y="468"/>
                  </a:lnTo>
                  <a:lnTo>
                    <a:pt x="370" y="471"/>
                  </a:lnTo>
                  <a:lnTo>
                    <a:pt x="376" y="477"/>
                  </a:lnTo>
                  <a:lnTo>
                    <a:pt x="386" y="481"/>
                  </a:lnTo>
                  <a:lnTo>
                    <a:pt x="400" y="485"/>
                  </a:lnTo>
                  <a:lnTo>
                    <a:pt x="412" y="487"/>
                  </a:lnTo>
                  <a:lnTo>
                    <a:pt x="419" y="484"/>
                  </a:lnTo>
                  <a:lnTo>
                    <a:pt x="427" y="486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72" name="Freeform 68">
              <a:extLst>
                <a:ext uri="{FF2B5EF4-FFF2-40B4-BE49-F238E27FC236}">
                  <a16:creationId xmlns:a16="http://schemas.microsoft.com/office/drawing/2014/main" id="{CBEF4E43-C88B-46B2-A9F6-75BC5A521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1" y="2248"/>
              <a:ext cx="588" cy="342"/>
            </a:xfrm>
            <a:custGeom>
              <a:avLst/>
              <a:gdLst>
                <a:gd name="T0" fmla="*/ 487 w 588"/>
                <a:gd name="T1" fmla="*/ 4 h 342"/>
                <a:gd name="T2" fmla="*/ 473 w 588"/>
                <a:gd name="T3" fmla="*/ 24 h 342"/>
                <a:gd name="T4" fmla="*/ 458 w 588"/>
                <a:gd name="T5" fmla="*/ 18 h 342"/>
                <a:gd name="T6" fmla="*/ 433 w 588"/>
                <a:gd name="T7" fmla="*/ 14 h 342"/>
                <a:gd name="T8" fmla="*/ 411 w 588"/>
                <a:gd name="T9" fmla="*/ 8 h 342"/>
                <a:gd name="T10" fmla="*/ 389 w 588"/>
                <a:gd name="T11" fmla="*/ 9 h 342"/>
                <a:gd name="T12" fmla="*/ 371 w 588"/>
                <a:gd name="T13" fmla="*/ 0 h 342"/>
                <a:gd name="T14" fmla="*/ 348 w 588"/>
                <a:gd name="T15" fmla="*/ 7 h 342"/>
                <a:gd name="T16" fmla="*/ 329 w 588"/>
                <a:gd name="T17" fmla="*/ 15 h 342"/>
                <a:gd name="T18" fmla="*/ 299 w 588"/>
                <a:gd name="T19" fmla="*/ 9 h 342"/>
                <a:gd name="T20" fmla="*/ 263 w 588"/>
                <a:gd name="T21" fmla="*/ 21 h 342"/>
                <a:gd name="T22" fmla="*/ 231 w 588"/>
                <a:gd name="T23" fmla="*/ 14 h 342"/>
                <a:gd name="T24" fmla="*/ 219 w 588"/>
                <a:gd name="T25" fmla="*/ 25 h 342"/>
                <a:gd name="T26" fmla="*/ 187 w 588"/>
                <a:gd name="T27" fmla="*/ 38 h 342"/>
                <a:gd name="T28" fmla="*/ 165 w 588"/>
                <a:gd name="T29" fmla="*/ 47 h 342"/>
                <a:gd name="T30" fmla="*/ 149 w 588"/>
                <a:gd name="T31" fmla="*/ 56 h 342"/>
                <a:gd name="T32" fmla="*/ 116 w 588"/>
                <a:gd name="T33" fmla="*/ 62 h 342"/>
                <a:gd name="T34" fmla="*/ 102 w 588"/>
                <a:gd name="T35" fmla="*/ 83 h 342"/>
                <a:gd name="T36" fmla="*/ 83 w 588"/>
                <a:gd name="T37" fmla="*/ 91 h 342"/>
                <a:gd name="T38" fmla="*/ 51 w 588"/>
                <a:gd name="T39" fmla="*/ 98 h 342"/>
                <a:gd name="T40" fmla="*/ 27 w 588"/>
                <a:gd name="T41" fmla="*/ 95 h 342"/>
                <a:gd name="T42" fmla="*/ 0 w 588"/>
                <a:gd name="T43" fmla="*/ 100 h 342"/>
                <a:gd name="T44" fmla="*/ 10 w 588"/>
                <a:gd name="T45" fmla="*/ 224 h 342"/>
                <a:gd name="T46" fmla="*/ 23 w 588"/>
                <a:gd name="T47" fmla="*/ 242 h 342"/>
                <a:gd name="T48" fmla="*/ 38 w 588"/>
                <a:gd name="T49" fmla="*/ 256 h 342"/>
                <a:gd name="T50" fmla="*/ 55 w 588"/>
                <a:gd name="T51" fmla="*/ 285 h 342"/>
                <a:gd name="T52" fmla="*/ 81 w 588"/>
                <a:gd name="T53" fmla="*/ 303 h 342"/>
                <a:gd name="T54" fmla="*/ 109 w 588"/>
                <a:gd name="T55" fmla="*/ 305 h 342"/>
                <a:gd name="T56" fmla="*/ 123 w 588"/>
                <a:gd name="T57" fmla="*/ 291 h 342"/>
                <a:gd name="T58" fmla="*/ 134 w 588"/>
                <a:gd name="T59" fmla="*/ 267 h 342"/>
                <a:gd name="T60" fmla="*/ 152 w 588"/>
                <a:gd name="T61" fmla="*/ 265 h 342"/>
                <a:gd name="T62" fmla="*/ 185 w 588"/>
                <a:gd name="T63" fmla="*/ 283 h 342"/>
                <a:gd name="T64" fmla="*/ 205 w 588"/>
                <a:gd name="T65" fmla="*/ 295 h 342"/>
                <a:gd name="T66" fmla="*/ 221 w 588"/>
                <a:gd name="T67" fmla="*/ 313 h 342"/>
                <a:gd name="T68" fmla="*/ 232 w 588"/>
                <a:gd name="T69" fmla="*/ 322 h 342"/>
                <a:gd name="T70" fmla="*/ 249 w 588"/>
                <a:gd name="T71" fmla="*/ 330 h 342"/>
                <a:gd name="T72" fmla="*/ 270 w 588"/>
                <a:gd name="T73" fmla="*/ 335 h 342"/>
                <a:gd name="T74" fmla="*/ 314 w 588"/>
                <a:gd name="T75" fmla="*/ 290 h 342"/>
                <a:gd name="T76" fmla="*/ 335 w 588"/>
                <a:gd name="T77" fmla="*/ 282 h 342"/>
                <a:gd name="T78" fmla="*/ 349 w 588"/>
                <a:gd name="T79" fmla="*/ 270 h 342"/>
                <a:gd name="T80" fmla="*/ 349 w 588"/>
                <a:gd name="T81" fmla="*/ 234 h 342"/>
                <a:gd name="T82" fmla="*/ 345 w 588"/>
                <a:gd name="T83" fmla="*/ 195 h 342"/>
                <a:gd name="T84" fmla="*/ 361 w 588"/>
                <a:gd name="T85" fmla="*/ 179 h 342"/>
                <a:gd name="T86" fmla="*/ 391 w 588"/>
                <a:gd name="T87" fmla="*/ 188 h 342"/>
                <a:gd name="T88" fmla="*/ 417 w 588"/>
                <a:gd name="T89" fmla="*/ 165 h 342"/>
                <a:gd name="T90" fmla="*/ 442 w 588"/>
                <a:gd name="T91" fmla="*/ 149 h 342"/>
                <a:gd name="T92" fmla="*/ 475 w 588"/>
                <a:gd name="T93" fmla="*/ 149 h 342"/>
                <a:gd name="T94" fmla="*/ 501 w 588"/>
                <a:gd name="T95" fmla="*/ 143 h 342"/>
                <a:gd name="T96" fmla="*/ 528 w 588"/>
                <a:gd name="T97" fmla="*/ 134 h 342"/>
                <a:gd name="T98" fmla="*/ 562 w 588"/>
                <a:gd name="T99" fmla="*/ 129 h 342"/>
                <a:gd name="T100" fmla="*/ 574 w 588"/>
                <a:gd name="T101" fmla="*/ 111 h 342"/>
                <a:gd name="T102" fmla="*/ 586 w 588"/>
                <a:gd name="T103" fmla="*/ 90 h 342"/>
                <a:gd name="T104" fmla="*/ 565 w 588"/>
                <a:gd name="T105" fmla="*/ 91 h 342"/>
                <a:gd name="T106" fmla="*/ 541 w 588"/>
                <a:gd name="T107" fmla="*/ 100 h 342"/>
                <a:gd name="T108" fmla="*/ 506 w 588"/>
                <a:gd name="T109" fmla="*/ 95 h 342"/>
                <a:gd name="T110" fmla="*/ 484 w 588"/>
                <a:gd name="T111" fmla="*/ 78 h 342"/>
                <a:gd name="T112" fmla="*/ 466 w 588"/>
                <a:gd name="T113" fmla="*/ 57 h 342"/>
                <a:gd name="T114" fmla="*/ 502 w 588"/>
                <a:gd name="T115" fmla="*/ 15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8" h="342">
                  <a:moveTo>
                    <a:pt x="502" y="15"/>
                  </a:moveTo>
                  <a:lnTo>
                    <a:pt x="499" y="7"/>
                  </a:lnTo>
                  <a:lnTo>
                    <a:pt x="487" y="4"/>
                  </a:lnTo>
                  <a:lnTo>
                    <a:pt x="481" y="9"/>
                  </a:lnTo>
                  <a:lnTo>
                    <a:pt x="482" y="17"/>
                  </a:lnTo>
                  <a:lnTo>
                    <a:pt x="473" y="24"/>
                  </a:lnTo>
                  <a:lnTo>
                    <a:pt x="470" y="19"/>
                  </a:lnTo>
                  <a:lnTo>
                    <a:pt x="458" y="23"/>
                  </a:lnTo>
                  <a:lnTo>
                    <a:pt x="458" y="18"/>
                  </a:lnTo>
                  <a:lnTo>
                    <a:pt x="447" y="19"/>
                  </a:lnTo>
                  <a:lnTo>
                    <a:pt x="446" y="13"/>
                  </a:lnTo>
                  <a:lnTo>
                    <a:pt x="433" y="14"/>
                  </a:lnTo>
                  <a:lnTo>
                    <a:pt x="427" y="11"/>
                  </a:lnTo>
                  <a:lnTo>
                    <a:pt x="417" y="13"/>
                  </a:lnTo>
                  <a:lnTo>
                    <a:pt x="411" y="8"/>
                  </a:lnTo>
                  <a:lnTo>
                    <a:pt x="405" y="11"/>
                  </a:lnTo>
                  <a:lnTo>
                    <a:pt x="395" y="6"/>
                  </a:lnTo>
                  <a:lnTo>
                    <a:pt x="389" y="9"/>
                  </a:lnTo>
                  <a:lnTo>
                    <a:pt x="379" y="9"/>
                  </a:lnTo>
                  <a:lnTo>
                    <a:pt x="374" y="4"/>
                  </a:lnTo>
                  <a:lnTo>
                    <a:pt x="371" y="0"/>
                  </a:lnTo>
                  <a:lnTo>
                    <a:pt x="365" y="9"/>
                  </a:lnTo>
                  <a:lnTo>
                    <a:pt x="355" y="13"/>
                  </a:lnTo>
                  <a:lnTo>
                    <a:pt x="348" y="7"/>
                  </a:lnTo>
                  <a:lnTo>
                    <a:pt x="344" y="13"/>
                  </a:lnTo>
                  <a:lnTo>
                    <a:pt x="338" y="11"/>
                  </a:lnTo>
                  <a:lnTo>
                    <a:pt x="329" y="15"/>
                  </a:lnTo>
                  <a:lnTo>
                    <a:pt x="318" y="15"/>
                  </a:lnTo>
                  <a:lnTo>
                    <a:pt x="306" y="15"/>
                  </a:lnTo>
                  <a:lnTo>
                    <a:pt x="299" y="9"/>
                  </a:lnTo>
                  <a:lnTo>
                    <a:pt x="291" y="18"/>
                  </a:lnTo>
                  <a:lnTo>
                    <a:pt x="278" y="19"/>
                  </a:lnTo>
                  <a:lnTo>
                    <a:pt x="263" y="21"/>
                  </a:lnTo>
                  <a:lnTo>
                    <a:pt x="247" y="24"/>
                  </a:lnTo>
                  <a:lnTo>
                    <a:pt x="240" y="14"/>
                  </a:lnTo>
                  <a:lnTo>
                    <a:pt x="231" y="14"/>
                  </a:lnTo>
                  <a:lnTo>
                    <a:pt x="228" y="20"/>
                  </a:lnTo>
                  <a:lnTo>
                    <a:pt x="229" y="31"/>
                  </a:lnTo>
                  <a:lnTo>
                    <a:pt x="219" y="25"/>
                  </a:lnTo>
                  <a:lnTo>
                    <a:pt x="211" y="30"/>
                  </a:lnTo>
                  <a:lnTo>
                    <a:pt x="198" y="30"/>
                  </a:lnTo>
                  <a:lnTo>
                    <a:pt x="187" y="38"/>
                  </a:lnTo>
                  <a:lnTo>
                    <a:pt x="176" y="38"/>
                  </a:lnTo>
                  <a:lnTo>
                    <a:pt x="177" y="44"/>
                  </a:lnTo>
                  <a:lnTo>
                    <a:pt x="165" y="47"/>
                  </a:lnTo>
                  <a:lnTo>
                    <a:pt x="165" y="54"/>
                  </a:lnTo>
                  <a:lnTo>
                    <a:pt x="159" y="59"/>
                  </a:lnTo>
                  <a:lnTo>
                    <a:pt x="149" y="56"/>
                  </a:lnTo>
                  <a:lnTo>
                    <a:pt x="133" y="59"/>
                  </a:lnTo>
                  <a:lnTo>
                    <a:pt x="124" y="57"/>
                  </a:lnTo>
                  <a:lnTo>
                    <a:pt x="116" y="62"/>
                  </a:lnTo>
                  <a:lnTo>
                    <a:pt x="109" y="69"/>
                  </a:lnTo>
                  <a:lnTo>
                    <a:pt x="105" y="77"/>
                  </a:lnTo>
                  <a:lnTo>
                    <a:pt x="102" y="83"/>
                  </a:lnTo>
                  <a:lnTo>
                    <a:pt x="95" y="83"/>
                  </a:lnTo>
                  <a:lnTo>
                    <a:pt x="88" y="85"/>
                  </a:lnTo>
                  <a:lnTo>
                    <a:pt x="83" y="91"/>
                  </a:lnTo>
                  <a:lnTo>
                    <a:pt x="69" y="92"/>
                  </a:lnTo>
                  <a:lnTo>
                    <a:pt x="59" y="93"/>
                  </a:lnTo>
                  <a:lnTo>
                    <a:pt x="51" y="98"/>
                  </a:lnTo>
                  <a:lnTo>
                    <a:pt x="45" y="96"/>
                  </a:lnTo>
                  <a:lnTo>
                    <a:pt x="35" y="98"/>
                  </a:lnTo>
                  <a:lnTo>
                    <a:pt x="27" y="95"/>
                  </a:lnTo>
                  <a:lnTo>
                    <a:pt x="13" y="98"/>
                  </a:lnTo>
                  <a:lnTo>
                    <a:pt x="5" y="93"/>
                  </a:lnTo>
                  <a:lnTo>
                    <a:pt x="0" y="100"/>
                  </a:lnTo>
                  <a:lnTo>
                    <a:pt x="0" y="206"/>
                  </a:lnTo>
                  <a:lnTo>
                    <a:pt x="1" y="220"/>
                  </a:lnTo>
                  <a:lnTo>
                    <a:pt x="10" y="224"/>
                  </a:lnTo>
                  <a:lnTo>
                    <a:pt x="15" y="232"/>
                  </a:lnTo>
                  <a:lnTo>
                    <a:pt x="15" y="239"/>
                  </a:lnTo>
                  <a:lnTo>
                    <a:pt x="23" y="242"/>
                  </a:lnTo>
                  <a:lnTo>
                    <a:pt x="29" y="246"/>
                  </a:lnTo>
                  <a:lnTo>
                    <a:pt x="31" y="254"/>
                  </a:lnTo>
                  <a:lnTo>
                    <a:pt x="38" y="256"/>
                  </a:lnTo>
                  <a:lnTo>
                    <a:pt x="39" y="269"/>
                  </a:lnTo>
                  <a:lnTo>
                    <a:pt x="45" y="276"/>
                  </a:lnTo>
                  <a:lnTo>
                    <a:pt x="55" y="285"/>
                  </a:lnTo>
                  <a:lnTo>
                    <a:pt x="63" y="290"/>
                  </a:lnTo>
                  <a:lnTo>
                    <a:pt x="74" y="295"/>
                  </a:lnTo>
                  <a:lnTo>
                    <a:pt x="81" y="303"/>
                  </a:lnTo>
                  <a:lnTo>
                    <a:pt x="88" y="307"/>
                  </a:lnTo>
                  <a:lnTo>
                    <a:pt x="99" y="309"/>
                  </a:lnTo>
                  <a:lnTo>
                    <a:pt x="109" y="305"/>
                  </a:lnTo>
                  <a:lnTo>
                    <a:pt x="110" y="297"/>
                  </a:lnTo>
                  <a:lnTo>
                    <a:pt x="116" y="292"/>
                  </a:lnTo>
                  <a:lnTo>
                    <a:pt x="123" y="291"/>
                  </a:lnTo>
                  <a:lnTo>
                    <a:pt x="128" y="284"/>
                  </a:lnTo>
                  <a:lnTo>
                    <a:pt x="127" y="276"/>
                  </a:lnTo>
                  <a:lnTo>
                    <a:pt x="134" y="267"/>
                  </a:lnTo>
                  <a:lnTo>
                    <a:pt x="140" y="266"/>
                  </a:lnTo>
                  <a:lnTo>
                    <a:pt x="146" y="273"/>
                  </a:lnTo>
                  <a:lnTo>
                    <a:pt x="152" y="265"/>
                  </a:lnTo>
                  <a:lnTo>
                    <a:pt x="161" y="269"/>
                  </a:lnTo>
                  <a:lnTo>
                    <a:pt x="170" y="274"/>
                  </a:lnTo>
                  <a:lnTo>
                    <a:pt x="185" y="283"/>
                  </a:lnTo>
                  <a:lnTo>
                    <a:pt x="192" y="277"/>
                  </a:lnTo>
                  <a:lnTo>
                    <a:pt x="202" y="285"/>
                  </a:lnTo>
                  <a:lnTo>
                    <a:pt x="205" y="295"/>
                  </a:lnTo>
                  <a:lnTo>
                    <a:pt x="209" y="303"/>
                  </a:lnTo>
                  <a:lnTo>
                    <a:pt x="216" y="305"/>
                  </a:lnTo>
                  <a:lnTo>
                    <a:pt x="221" y="313"/>
                  </a:lnTo>
                  <a:lnTo>
                    <a:pt x="221" y="320"/>
                  </a:lnTo>
                  <a:lnTo>
                    <a:pt x="227" y="325"/>
                  </a:lnTo>
                  <a:lnTo>
                    <a:pt x="232" y="322"/>
                  </a:lnTo>
                  <a:lnTo>
                    <a:pt x="235" y="334"/>
                  </a:lnTo>
                  <a:lnTo>
                    <a:pt x="242" y="332"/>
                  </a:lnTo>
                  <a:lnTo>
                    <a:pt x="249" y="330"/>
                  </a:lnTo>
                  <a:lnTo>
                    <a:pt x="257" y="334"/>
                  </a:lnTo>
                  <a:lnTo>
                    <a:pt x="262" y="342"/>
                  </a:lnTo>
                  <a:lnTo>
                    <a:pt x="270" y="335"/>
                  </a:lnTo>
                  <a:lnTo>
                    <a:pt x="307" y="307"/>
                  </a:lnTo>
                  <a:lnTo>
                    <a:pt x="306" y="297"/>
                  </a:lnTo>
                  <a:lnTo>
                    <a:pt x="314" y="290"/>
                  </a:lnTo>
                  <a:lnTo>
                    <a:pt x="321" y="292"/>
                  </a:lnTo>
                  <a:lnTo>
                    <a:pt x="329" y="288"/>
                  </a:lnTo>
                  <a:lnTo>
                    <a:pt x="335" y="282"/>
                  </a:lnTo>
                  <a:lnTo>
                    <a:pt x="336" y="274"/>
                  </a:lnTo>
                  <a:lnTo>
                    <a:pt x="339" y="269"/>
                  </a:lnTo>
                  <a:lnTo>
                    <a:pt x="349" y="270"/>
                  </a:lnTo>
                  <a:lnTo>
                    <a:pt x="345" y="259"/>
                  </a:lnTo>
                  <a:lnTo>
                    <a:pt x="344" y="247"/>
                  </a:lnTo>
                  <a:lnTo>
                    <a:pt x="349" y="234"/>
                  </a:lnTo>
                  <a:lnTo>
                    <a:pt x="350" y="217"/>
                  </a:lnTo>
                  <a:lnTo>
                    <a:pt x="350" y="203"/>
                  </a:lnTo>
                  <a:lnTo>
                    <a:pt x="345" y="195"/>
                  </a:lnTo>
                  <a:lnTo>
                    <a:pt x="343" y="186"/>
                  </a:lnTo>
                  <a:lnTo>
                    <a:pt x="350" y="177"/>
                  </a:lnTo>
                  <a:lnTo>
                    <a:pt x="361" y="179"/>
                  </a:lnTo>
                  <a:lnTo>
                    <a:pt x="371" y="187"/>
                  </a:lnTo>
                  <a:lnTo>
                    <a:pt x="384" y="194"/>
                  </a:lnTo>
                  <a:lnTo>
                    <a:pt x="391" y="188"/>
                  </a:lnTo>
                  <a:lnTo>
                    <a:pt x="395" y="179"/>
                  </a:lnTo>
                  <a:lnTo>
                    <a:pt x="405" y="171"/>
                  </a:lnTo>
                  <a:lnTo>
                    <a:pt x="417" y="165"/>
                  </a:lnTo>
                  <a:lnTo>
                    <a:pt x="429" y="165"/>
                  </a:lnTo>
                  <a:lnTo>
                    <a:pt x="436" y="158"/>
                  </a:lnTo>
                  <a:lnTo>
                    <a:pt x="442" y="149"/>
                  </a:lnTo>
                  <a:lnTo>
                    <a:pt x="455" y="150"/>
                  </a:lnTo>
                  <a:lnTo>
                    <a:pt x="466" y="147"/>
                  </a:lnTo>
                  <a:lnTo>
                    <a:pt x="475" y="149"/>
                  </a:lnTo>
                  <a:lnTo>
                    <a:pt x="483" y="150"/>
                  </a:lnTo>
                  <a:lnTo>
                    <a:pt x="494" y="146"/>
                  </a:lnTo>
                  <a:lnTo>
                    <a:pt x="501" y="143"/>
                  </a:lnTo>
                  <a:lnTo>
                    <a:pt x="512" y="143"/>
                  </a:lnTo>
                  <a:lnTo>
                    <a:pt x="519" y="136"/>
                  </a:lnTo>
                  <a:lnTo>
                    <a:pt x="528" y="134"/>
                  </a:lnTo>
                  <a:lnTo>
                    <a:pt x="535" y="134"/>
                  </a:lnTo>
                  <a:lnTo>
                    <a:pt x="549" y="132"/>
                  </a:lnTo>
                  <a:lnTo>
                    <a:pt x="562" y="129"/>
                  </a:lnTo>
                  <a:lnTo>
                    <a:pt x="565" y="123"/>
                  </a:lnTo>
                  <a:lnTo>
                    <a:pt x="569" y="119"/>
                  </a:lnTo>
                  <a:lnTo>
                    <a:pt x="574" y="111"/>
                  </a:lnTo>
                  <a:lnTo>
                    <a:pt x="583" y="105"/>
                  </a:lnTo>
                  <a:lnTo>
                    <a:pt x="588" y="98"/>
                  </a:lnTo>
                  <a:lnTo>
                    <a:pt x="586" y="90"/>
                  </a:lnTo>
                  <a:lnTo>
                    <a:pt x="580" y="87"/>
                  </a:lnTo>
                  <a:lnTo>
                    <a:pt x="572" y="93"/>
                  </a:lnTo>
                  <a:lnTo>
                    <a:pt x="565" y="91"/>
                  </a:lnTo>
                  <a:lnTo>
                    <a:pt x="559" y="96"/>
                  </a:lnTo>
                  <a:lnTo>
                    <a:pt x="547" y="95"/>
                  </a:lnTo>
                  <a:lnTo>
                    <a:pt x="541" y="100"/>
                  </a:lnTo>
                  <a:lnTo>
                    <a:pt x="521" y="92"/>
                  </a:lnTo>
                  <a:lnTo>
                    <a:pt x="512" y="102"/>
                  </a:lnTo>
                  <a:lnTo>
                    <a:pt x="506" y="95"/>
                  </a:lnTo>
                  <a:lnTo>
                    <a:pt x="496" y="91"/>
                  </a:lnTo>
                  <a:lnTo>
                    <a:pt x="488" y="91"/>
                  </a:lnTo>
                  <a:lnTo>
                    <a:pt x="484" y="78"/>
                  </a:lnTo>
                  <a:lnTo>
                    <a:pt x="479" y="70"/>
                  </a:lnTo>
                  <a:lnTo>
                    <a:pt x="473" y="63"/>
                  </a:lnTo>
                  <a:lnTo>
                    <a:pt x="466" y="57"/>
                  </a:lnTo>
                  <a:lnTo>
                    <a:pt x="456" y="57"/>
                  </a:lnTo>
                  <a:lnTo>
                    <a:pt x="449" y="53"/>
                  </a:lnTo>
                  <a:lnTo>
                    <a:pt x="502" y="15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027CFB15-39EB-4F73-A37A-32ED1ACB2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1" y="2248"/>
              <a:ext cx="588" cy="342"/>
            </a:xfrm>
            <a:custGeom>
              <a:avLst/>
              <a:gdLst>
                <a:gd name="T0" fmla="*/ 487 w 588"/>
                <a:gd name="T1" fmla="*/ 4 h 342"/>
                <a:gd name="T2" fmla="*/ 473 w 588"/>
                <a:gd name="T3" fmla="*/ 24 h 342"/>
                <a:gd name="T4" fmla="*/ 458 w 588"/>
                <a:gd name="T5" fmla="*/ 18 h 342"/>
                <a:gd name="T6" fmla="*/ 433 w 588"/>
                <a:gd name="T7" fmla="*/ 14 h 342"/>
                <a:gd name="T8" fmla="*/ 411 w 588"/>
                <a:gd name="T9" fmla="*/ 8 h 342"/>
                <a:gd name="T10" fmla="*/ 389 w 588"/>
                <a:gd name="T11" fmla="*/ 9 h 342"/>
                <a:gd name="T12" fmla="*/ 371 w 588"/>
                <a:gd name="T13" fmla="*/ 0 h 342"/>
                <a:gd name="T14" fmla="*/ 348 w 588"/>
                <a:gd name="T15" fmla="*/ 7 h 342"/>
                <a:gd name="T16" fmla="*/ 329 w 588"/>
                <a:gd name="T17" fmla="*/ 15 h 342"/>
                <a:gd name="T18" fmla="*/ 299 w 588"/>
                <a:gd name="T19" fmla="*/ 9 h 342"/>
                <a:gd name="T20" fmla="*/ 263 w 588"/>
                <a:gd name="T21" fmla="*/ 21 h 342"/>
                <a:gd name="T22" fmla="*/ 231 w 588"/>
                <a:gd name="T23" fmla="*/ 14 h 342"/>
                <a:gd name="T24" fmla="*/ 219 w 588"/>
                <a:gd name="T25" fmla="*/ 25 h 342"/>
                <a:gd name="T26" fmla="*/ 187 w 588"/>
                <a:gd name="T27" fmla="*/ 38 h 342"/>
                <a:gd name="T28" fmla="*/ 165 w 588"/>
                <a:gd name="T29" fmla="*/ 47 h 342"/>
                <a:gd name="T30" fmla="*/ 149 w 588"/>
                <a:gd name="T31" fmla="*/ 56 h 342"/>
                <a:gd name="T32" fmla="*/ 116 w 588"/>
                <a:gd name="T33" fmla="*/ 62 h 342"/>
                <a:gd name="T34" fmla="*/ 102 w 588"/>
                <a:gd name="T35" fmla="*/ 83 h 342"/>
                <a:gd name="T36" fmla="*/ 83 w 588"/>
                <a:gd name="T37" fmla="*/ 91 h 342"/>
                <a:gd name="T38" fmla="*/ 51 w 588"/>
                <a:gd name="T39" fmla="*/ 98 h 342"/>
                <a:gd name="T40" fmla="*/ 27 w 588"/>
                <a:gd name="T41" fmla="*/ 95 h 342"/>
                <a:gd name="T42" fmla="*/ 0 w 588"/>
                <a:gd name="T43" fmla="*/ 100 h 342"/>
                <a:gd name="T44" fmla="*/ 10 w 588"/>
                <a:gd name="T45" fmla="*/ 224 h 342"/>
                <a:gd name="T46" fmla="*/ 23 w 588"/>
                <a:gd name="T47" fmla="*/ 242 h 342"/>
                <a:gd name="T48" fmla="*/ 38 w 588"/>
                <a:gd name="T49" fmla="*/ 256 h 342"/>
                <a:gd name="T50" fmla="*/ 55 w 588"/>
                <a:gd name="T51" fmla="*/ 285 h 342"/>
                <a:gd name="T52" fmla="*/ 81 w 588"/>
                <a:gd name="T53" fmla="*/ 303 h 342"/>
                <a:gd name="T54" fmla="*/ 109 w 588"/>
                <a:gd name="T55" fmla="*/ 305 h 342"/>
                <a:gd name="T56" fmla="*/ 123 w 588"/>
                <a:gd name="T57" fmla="*/ 291 h 342"/>
                <a:gd name="T58" fmla="*/ 134 w 588"/>
                <a:gd name="T59" fmla="*/ 267 h 342"/>
                <a:gd name="T60" fmla="*/ 152 w 588"/>
                <a:gd name="T61" fmla="*/ 265 h 342"/>
                <a:gd name="T62" fmla="*/ 185 w 588"/>
                <a:gd name="T63" fmla="*/ 283 h 342"/>
                <a:gd name="T64" fmla="*/ 205 w 588"/>
                <a:gd name="T65" fmla="*/ 295 h 342"/>
                <a:gd name="T66" fmla="*/ 221 w 588"/>
                <a:gd name="T67" fmla="*/ 313 h 342"/>
                <a:gd name="T68" fmla="*/ 232 w 588"/>
                <a:gd name="T69" fmla="*/ 322 h 342"/>
                <a:gd name="T70" fmla="*/ 249 w 588"/>
                <a:gd name="T71" fmla="*/ 330 h 342"/>
                <a:gd name="T72" fmla="*/ 270 w 588"/>
                <a:gd name="T73" fmla="*/ 335 h 342"/>
                <a:gd name="T74" fmla="*/ 314 w 588"/>
                <a:gd name="T75" fmla="*/ 290 h 342"/>
                <a:gd name="T76" fmla="*/ 335 w 588"/>
                <a:gd name="T77" fmla="*/ 282 h 342"/>
                <a:gd name="T78" fmla="*/ 349 w 588"/>
                <a:gd name="T79" fmla="*/ 270 h 342"/>
                <a:gd name="T80" fmla="*/ 349 w 588"/>
                <a:gd name="T81" fmla="*/ 234 h 342"/>
                <a:gd name="T82" fmla="*/ 345 w 588"/>
                <a:gd name="T83" fmla="*/ 195 h 342"/>
                <a:gd name="T84" fmla="*/ 361 w 588"/>
                <a:gd name="T85" fmla="*/ 179 h 342"/>
                <a:gd name="T86" fmla="*/ 391 w 588"/>
                <a:gd name="T87" fmla="*/ 188 h 342"/>
                <a:gd name="T88" fmla="*/ 417 w 588"/>
                <a:gd name="T89" fmla="*/ 165 h 342"/>
                <a:gd name="T90" fmla="*/ 442 w 588"/>
                <a:gd name="T91" fmla="*/ 149 h 342"/>
                <a:gd name="T92" fmla="*/ 475 w 588"/>
                <a:gd name="T93" fmla="*/ 149 h 342"/>
                <a:gd name="T94" fmla="*/ 501 w 588"/>
                <a:gd name="T95" fmla="*/ 143 h 342"/>
                <a:gd name="T96" fmla="*/ 528 w 588"/>
                <a:gd name="T97" fmla="*/ 134 h 342"/>
                <a:gd name="T98" fmla="*/ 562 w 588"/>
                <a:gd name="T99" fmla="*/ 129 h 342"/>
                <a:gd name="T100" fmla="*/ 574 w 588"/>
                <a:gd name="T101" fmla="*/ 111 h 342"/>
                <a:gd name="T102" fmla="*/ 586 w 588"/>
                <a:gd name="T103" fmla="*/ 90 h 342"/>
                <a:gd name="T104" fmla="*/ 565 w 588"/>
                <a:gd name="T105" fmla="*/ 91 h 342"/>
                <a:gd name="T106" fmla="*/ 541 w 588"/>
                <a:gd name="T107" fmla="*/ 100 h 342"/>
                <a:gd name="T108" fmla="*/ 506 w 588"/>
                <a:gd name="T109" fmla="*/ 95 h 342"/>
                <a:gd name="T110" fmla="*/ 484 w 588"/>
                <a:gd name="T111" fmla="*/ 78 h 342"/>
                <a:gd name="T112" fmla="*/ 466 w 588"/>
                <a:gd name="T113" fmla="*/ 57 h 342"/>
                <a:gd name="T114" fmla="*/ 502 w 588"/>
                <a:gd name="T115" fmla="*/ 15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8" h="342">
                  <a:moveTo>
                    <a:pt x="502" y="15"/>
                  </a:moveTo>
                  <a:lnTo>
                    <a:pt x="499" y="7"/>
                  </a:lnTo>
                  <a:lnTo>
                    <a:pt x="487" y="4"/>
                  </a:lnTo>
                  <a:lnTo>
                    <a:pt x="481" y="9"/>
                  </a:lnTo>
                  <a:lnTo>
                    <a:pt x="482" y="17"/>
                  </a:lnTo>
                  <a:lnTo>
                    <a:pt x="473" y="24"/>
                  </a:lnTo>
                  <a:lnTo>
                    <a:pt x="470" y="19"/>
                  </a:lnTo>
                  <a:lnTo>
                    <a:pt x="458" y="23"/>
                  </a:lnTo>
                  <a:lnTo>
                    <a:pt x="458" y="18"/>
                  </a:lnTo>
                  <a:lnTo>
                    <a:pt x="447" y="19"/>
                  </a:lnTo>
                  <a:lnTo>
                    <a:pt x="446" y="13"/>
                  </a:lnTo>
                  <a:lnTo>
                    <a:pt x="433" y="14"/>
                  </a:lnTo>
                  <a:lnTo>
                    <a:pt x="427" y="11"/>
                  </a:lnTo>
                  <a:lnTo>
                    <a:pt x="417" y="13"/>
                  </a:lnTo>
                  <a:lnTo>
                    <a:pt x="411" y="8"/>
                  </a:lnTo>
                  <a:lnTo>
                    <a:pt x="405" y="11"/>
                  </a:lnTo>
                  <a:lnTo>
                    <a:pt x="395" y="6"/>
                  </a:lnTo>
                  <a:lnTo>
                    <a:pt x="389" y="9"/>
                  </a:lnTo>
                  <a:lnTo>
                    <a:pt x="379" y="9"/>
                  </a:lnTo>
                  <a:lnTo>
                    <a:pt x="374" y="4"/>
                  </a:lnTo>
                  <a:lnTo>
                    <a:pt x="371" y="0"/>
                  </a:lnTo>
                  <a:lnTo>
                    <a:pt x="365" y="9"/>
                  </a:lnTo>
                  <a:lnTo>
                    <a:pt x="355" y="13"/>
                  </a:lnTo>
                  <a:lnTo>
                    <a:pt x="348" y="7"/>
                  </a:lnTo>
                  <a:lnTo>
                    <a:pt x="344" y="13"/>
                  </a:lnTo>
                  <a:lnTo>
                    <a:pt x="338" y="11"/>
                  </a:lnTo>
                  <a:lnTo>
                    <a:pt x="329" y="15"/>
                  </a:lnTo>
                  <a:lnTo>
                    <a:pt x="318" y="15"/>
                  </a:lnTo>
                  <a:lnTo>
                    <a:pt x="306" y="15"/>
                  </a:lnTo>
                  <a:lnTo>
                    <a:pt x="299" y="9"/>
                  </a:lnTo>
                  <a:lnTo>
                    <a:pt x="291" y="18"/>
                  </a:lnTo>
                  <a:lnTo>
                    <a:pt x="278" y="19"/>
                  </a:lnTo>
                  <a:lnTo>
                    <a:pt x="263" y="21"/>
                  </a:lnTo>
                  <a:lnTo>
                    <a:pt x="247" y="24"/>
                  </a:lnTo>
                  <a:lnTo>
                    <a:pt x="240" y="14"/>
                  </a:lnTo>
                  <a:lnTo>
                    <a:pt x="231" y="14"/>
                  </a:lnTo>
                  <a:lnTo>
                    <a:pt x="228" y="20"/>
                  </a:lnTo>
                  <a:lnTo>
                    <a:pt x="229" y="31"/>
                  </a:lnTo>
                  <a:lnTo>
                    <a:pt x="219" y="25"/>
                  </a:lnTo>
                  <a:lnTo>
                    <a:pt x="211" y="30"/>
                  </a:lnTo>
                  <a:lnTo>
                    <a:pt x="198" y="30"/>
                  </a:lnTo>
                  <a:lnTo>
                    <a:pt x="187" y="38"/>
                  </a:lnTo>
                  <a:lnTo>
                    <a:pt x="176" y="38"/>
                  </a:lnTo>
                  <a:lnTo>
                    <a:pt x="177" y="44"/>
                  </a:lnTo>
                  <a:lnTo>
                    <a:pt x="165" y="47"/>
                  </a:lnTo>
                  <a:lnTo>
                    <a:pt x="165" y="54"/>
                  </a:lnTo>
                  <a:lnTo>
                    <a:pt x="159" y="59"/>
                  </a:lnTo>
                  <a:lnTo>
                    <a:pt x="149" y="56"/>
                  </a:lnTo>
                  <a:lnTo>
                    <a:pt x="133" y="59"/>
                  </a:lnTo>
                  <a:lnTo>
                    <a:pt x="124" y="57"/>
                  </a:lnTo>
                  <a:lnTo>
                    <a:pt x="116" y="62"/>
                  </a:lnTo>
                  <a:lnTo>
                    <a:pt x="109" y="69"/>
                  </a:lnTo>
                  <a:lnTo>
                    <a:pt x="105" y="77"/>
                  </a:lnTo>
                  <a:lnTo>
                    <a:pt x="102" y="83"/>
                  </a:lnTo>
                  <a:lnTo>
                    <a:pt x="95" y="83"/>
                  </a:lnTo>
                  <a:lnTo>
                    <a:pt x="88" y="85"/>
                  </a:lnTo>
                  <a:lnTo>
                    <a:pt x="83" y="91"/>
                  </a:lnTo>
                  <a:lnTo>
                    <a:pt x="69" y="92"/>
                  </a:lnTo>
                  <a:lnTo>
                    <a:pt x="59" y="93"/>
                  </a:lnTo>
                  <a:lnTo>
                    <a:pt x="51" y="98"/>
                  </a:lnTo>
                  <a:lnTo>
                    <a:pt x="45" y="96"/>
                  </a:lnTo>
                  <a:lnTo>
                    <a:pt x="35" y="98"/>
                  </a:lnTo>
                  <a:lnTo>
                    <a:pt x="27" y="95"/>
                  </a:lnTo>
                  <a:lnTo>
                    <a:pt x="13" y="98"/>
                  </a:lnTo>
                  <a:lnTo>
                    <a:pt x="5" y="93"/>
                  </a:lnTo>
                  <a:lnTo>
                    <a:pt x="0" y="100"/>
                  </a:lnTo>
                  <a:lnTo>
                    <a:pt x="0" y="206"/>
                  </a:lnTo>
                  <a:lnTo>
                    <a:pt x="1" y="220"/>
                  </a:lnTo>
                  <a:lnTo>
                    <a:pt x="10" y="224"/>
                  </a:lnTo>
                  <a:lnTo>
                    <a:pt x="15" y="232"/>
                  </a:lnTo>
                  <a:lnTo>
                    <a:pt x="15" y="239"/>
                  </a:lnTo>
                  <a:lnTo>
                    <a:pt x="23" y="242"/>
                  </a:lnTo>
                  <a:lnTo>
                    <a:pt x="29" y="246"/>
                  </a:lnTo>
                  <a:lnTo>
                    <a:pt x="31" y="254"/>
                  </a:lnTo>
                  <a:lnTo>
                    <a:pt x="38" y="256"/>
                  </a:lnTo>
                  <a:lnTo>
                    <a:pt x="39" y="269"/>
                  </a:lnTo>
                  <a:lnTo>
                    <a:pt x="45" y="276"/>
                  </a:lnTo>
                  <a:lnTo>
                    <a:pt x="55" y="285"/>
                  </a:lnTo>
                  <a:lnTo>
                    <a:pt x="63" y="290"/>
                  </a:lnTo>
                  <a:lnTo>
                    <a:pt x="74" y="295"/>
                  </a:lnTo>
                  <a:lnTo>
                    <a:pt x="81" y="303"/>
                  </a:lnTo>
                  <a:lnTo>
                    <a:pt x="88" y="307"/>
                  </a:lnTo>
                  <a:lnTo>
                    <a:pt x="99" y="309"/>
                  </a:lnTo>
                  <a:lnTo>
                    <a:pt x="109" y="305"/>
                  </a:lnTo>
                  <a:lnTo>
                    <a:pt x="110" y="297"/>
                  </a:lnTo>
                  <a:lnTo>
                    <a:pt x="116" y="292"/>
                  </a:lnTo>
                  <a:lnTo>
                    <a:pt x="123" y="291"/>
                  </a:lnTo>
                  <a:lnTo>
                    <a:pt x="128" y="284"/>
                  </a:lnTo>
                  <a:lnTo>
                    <a:pt x="127" y="276"/>
                  </a:lnTo>
                  <a:lnTo>
                    <a:pt x="134" y="267"/>
                  </a:lnTo>
                  <a:lnTo>
                    <a:pt x="140" y="266"/>
                  </a:lnTo>
                  <a:lnTo>
                    <a:pt x="146" y="273"/>
                  </a:lnTo>
                  <a:lnTo>
                    <a:pt x="152" y="265"/>
                  </a:lnTo>
                  <a:lnTo>
                    <a:pt x="161" y="269"/>
                  </a:lnTo>
                  <a:lnTo>
                    <a:pt x="170" y="274"/>
                  </a:lnTo>
                  <a:lnTo>
                    <a:pt x="185" y="283"/>
                  </a:lnTo>
                  <a:lnTo>
                    <a:pt x="192" y="277"/>
                  </a:lnTo>
                  <a:lnTo>
                    <a:pt x="202" y="285"/>
                  </a:lnTo>
                  <a:lnTo>
                    <a:pt x="205" y="295"/>
                  </a:lnTo>
                  <a:lnTo>
                    <a:pt x="209" y="303"/>
                  </a:lnTo>
                  <a:lnTo>
                    <a:pt x="216" y="305"/>
                  </a:lnTo>
                  <a:lnTo>
                    <a:pt x="221" y="313"/>
                  </a:lnTo>
                  <a:lnTo>
                    <a:pt x="221" y="320"/>
                  </a:lnTo>
                  <a:lnTo>
                    <a:pt x="227" y="325"/>
                  </a:lnTo>
                  <a:lnTo>
                    <a:pt x="232" y="322"/>
                  </a:lnTo>
                  <a:lnTo>
                    <a:pt x="235" y="334"/>
                  </a:lnTo>
                  <a:lnTo>
                    <a:pt x="242" y="332"/>
                  </a:lnTo>
                  <a:lnTo>
                    <a:pt x="249" y="330"/>
                  </a:lnTo>
                  <a:lnTo>
                    <a:pt x="257" y="334"/>
                  </a:lnTo>
                  <a:lnTo>
                    <a:pt x="262" y="342"/>
                  </a:lnTo>
                  <a:lnTo>
                    <a:pt x="270" y="335"/>
                  </a:lnTo>
                  <a:lnTo>
                    <a:pt x="307" y="307"/>
                  </a:lnTo>
                  <a:lnTo>
                    <a:pt x="306" y="297"/>
                  </a:lnTo>
                  <a:lnTo>
                    <a:pt x="314" y="290"/>
                  </a:lnTo>
                  <a:lnTo>
                    <a:pt x="321" y="292"/>
                  </a:lnTo>
                  <a:lnTo>
                    <a:pt x="329" y="288"/>
                  </a:lnTo>
                  <a:lnTo>
                    <a:pt x="335" y="282"/>
                  </a:lnTo>
                  <a:lnTo>
                    <a:pt x="336" y="274"/>
                  </a:lnTo>
                  <a:lnTo>
                    <a:pt x="339" y="269"/>
                  </a:lnTo>
                  <a:lnTo>
                    <a:pt x="349" y="270"/>
                  </a:lnTo>
                  <a:lnTo>
                    <a:pt x="345" y="259"/>
                  </a:lnTo>
                  <a:lnTo>
                    <a:pt x="344" y="247"/>
                  </a:lnTo>
                  <a:lnTo>
                    <a:pt x="349" y="234"/>
                  </a:lnTo>
                  <a:lnTo>
                    <a:pt x="350" y="217"/>
                  </a:lnTo>
                  <a:lnTo>
                    <a:pt x="350" y="203"/>
                  </a:lnTo>
                  <a:lnTo>
                    <a:pt x="345" y="195"/>
                  </a:lnTo>
                  <a:lnTo>
                    <a:pt x="343" y="186"/>
                  </a:lnTo>
                  <a:lnTo>
                    <a:pt x="350" y="177"/>
                  </a:lnTo>
                  <a:lnTo>
                    <a:pt x="361" y="179"/>
                  </a:lnTo>
                  <a:lnTo>
                    <a:pt x="371" y="187"/>
                  </a:lnTo>
                  <a:lnTo>
                    <a:pt x="384" y="194"/>
                  </a:lnTo>
                  <a:lnTo>
                    <a:pt x="391" y="188"/>
                  </a:lnTo>
                  <a:lnTo>
                    <a:pt x="395" y="179"/>
                  </a:lnTo>
                  <a:lnTo>
                    <a:pt x="405" y="171"/>
                  </a:lnTo>
                  <a:lnTo>
                    <a:pt x="417" y="165"/>
                  </a:lnTo>
                  <a:lnTo>
                    <a:pt x="429" y="165"/>
                  </a:lnTo>
                  <a:lnTo>
                    <a:pt x="436" y="158"/>
                  </a:lnTo>
                  <a:lnTo>
                    <a:pt x="442" y="149"/>
                  </a:lnTo>
                  <a:lnTo>
                    <a:pt x="455" y="150"/>
                  </a:lnTo>
                  <a:lnTo>
                    <a:pt x="466" y="147"/>
                  </a:lnTo>
                  <a:lnTo>
                    <a:pt x="475" y="149"/>
                  </a:lnTo>
                  <a:lnTo>
                    <a:pt x="483" y="150"/>
                  </a:lnTo>
                  <a:lnTo>
                    <a:pt x="494" y="146"/>
                  </a:lnTo>
                  <a:lnTo>
                    <a:pt x="501" y="143"/>
                  </a:lnTo>
                  <a:lnTo>
                    <a:pt x="512" y="143"/>
                  </a:lnTo>
                  <a:lnTo>
                    <a:pt x="519" y="136"/>
                  </a:lnTo>
                  <a:lnTo>
                    <a:pt x="528" y="134"/>
                  </a:lnTo>
                  <a:lnTo>
                    <a:pt x="535" y="134"/>
                  </a:lnTo>
                  <a:lnTo>
                    <a:pt x="549" y="132"/>
                  </a:lnTo>
                  <a:lnTo>
                    <a:pt x="562" y="129"/>
                  </a:lnTo>
                  <a:lnTo>
                    <a:pt x="565" y="123"/>
                  </a:lnTo>
                  <a:lnTo>
                    <a:pt x="569" y="119"/>
                  </a:lnTo>
                  <a:lnTo>
                    <a:pt x="574" y="111"/>
                  </a:lnTo>
                  <a:lnTo>
                    <a:pt x="583" y="105"/>
                  </a:lnTo>
                  <a:lnTo>
                    <a:pt x="588" y="98"/>
                  </a:lnTo>
                  <a:lnTo>
                    <a:pt x="586" y="90"/>
                  </a:lnTo>
                  <a:lnTo>
                    <a:pt x="580" y="87"/>
                  </a:lnTo>
                  <a:lnTo>
                    <a:pt x="572" y="93"/>
                  </a:lnTo>
                  <a:lnTo>
                    <a:pt x="565" y="91"/>
                  </a:lnTo>
                  <a:lnTo>
                    <a:pt x="559" y="96"/>
                  </a:lnTo>
                  <a:lnTo>
                    <a:pt x="547" y="95"/>
                  </a:lnTo>
                  <a:lnTo>
                    <a:pt x="541" y="100"/>
                  </a:lnTo>
                  <a:lnTo>
                    <a:pt x="521" y="92"/>
                  </a:lnTo>
                  <a:lnTo>
                    <a:pt x="512" y="102"/>
                  </a:lnTo>
                  <a:lnTo>
                    <a:pt x="506" y="95"/>
                  </a:lnTo>
                  <a:lnTo>
                    <a:pt x="496" y="91"/>
                  </a:lnTo>
                  <a:lnTo>
                    <a:pt x="488" y="91"/>
                  </a:lnTo>
                  <a:lnTo>
                    <a:pt x="484" y="78"/>
                  </a:lnTo>
                  <a:lnTo>
                    <a:pt x="479" y="70"/>
                  </a:lnTo>
                  <a:lnTo>
                    <a:pt x="473" y="63"/>
                  </a:lnTo>
                  <a:lnTo>
                    <a:pt x="466" y="57"/>
                  </a:lnTo>
                  <a:lnTo>
                    <a:pt x="456" y="57"/>
                  </a:lnTo>
                  <a:lnTo>
                    <a:pt x="449" y="53"/>
                  </a:lnTo>
                  <a:lnTo>
                    <a:pt x="502" y="15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74" name="Freeform 70">
              <a:extLst>
                <a:ext uri="{FF2B5EF4-FFF2-40B4-BE49-F238E27FC236}">
                  <a16:creationId xmlns:a16="http://schemas.microsoft.com/office/drawing/2014/main" id="{22A0B241-A9A6-4477-8BC6-190A08F559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365"/>
              <a:ext cx="465" cy="475"/>
            </a:xfrm>
            <a:custGeom>
              <a:avLst/>
              <a:gdLst>
                <a:gd name="T0" fmla="*/ 147 w 465"/>
                <a:gd name="T1" fmla="*/ 303 h 475"/>
                <a:gd name="T2" fmla="*/ 172 w 465"/>
                <a:gd name="T3" fmla="*/ 311 h 475"/>
                <a:gd name="T4" fmla="*/ 185 w 465"/>
                <a:gd name="T5" fmla="*/ 338 h 475"/>
                <a:gd name="T6" fmla="*/ 212 w 465"/>
                <a:gd name="T7" fmla="*/ 349 h 475"/>
                <a:gd name="T8" fmla="*/ 252 w 465"/>
                <a:gd name="T9" fmla="*/ 359 h 475"/>
                <a:gd name="T10" fmla="*/ 283 w 465"/>
                <a:gd name="T11" fmla="*/ 365 h 475"/>
                <a:gd name="T12" fmla="*/ 286 w 465"/>
                <a:gd name="T13" fmla="*/ 379 h 475"/>
                <a:gd name="T14" fmla="*/ 293 w 465"/>
                <a:gd name="T15" fmla="*/ 408 h 475"/>
                <a:gd name="T16" fmla="*/ 299 w 465"/>
                <a:gd name="T17" fmla="*/ 429 h 475"/>
                <a:gd name="T18" fmla="*/ 300 w 465"/>
                <a:gd name="T19" fmla="*/ 447 h 475"/>
                <a:gd name="T20" fmla="*/ 320 w 465"/>
                <a:gd name="T21" fmla="*/ 448 h 475"/>
                <a:gd name="T22" fmla="*/ 335 w 465"/>
                <a:gd name="T23" fmla="*/ 440 h 475"/>
                <a:gd name="T24" fmla="*/ 349 w 465"/>
                <a:gd name="T25" fmla="*/ 457 h 475"/>
                <a:gd name="T26" fmla="*/ 371 w 465"/>
                <a:gd name="T27" fmla="*/ 449 h 475"/>
                <a:gd name="T28" fmla="*/ 383 w 465"/>
                <a:gd name="T29" fmla="*/ 464 h 475"/>
                <a:gd name="T30" fmla="*/ 415 w 465"/>
                <a:gd name="T31" fmla="*/ 468 h 475"/>
                <a:gd name="T32" fmla="*/ 423 w 465"/>
                <a:gd name="T33" fmla="*/ 440 h 475"/>
                <a:gd name="T34" fmla="*/ 401 w 465"/>
                <a:gd name="T35" fmla="*/ 418 h 475"/>
                <a:gd name="T36" fmla="*/ 399 w 465"/>
                <a:gd name="T37" fmla="*/ 391 h 475"/>
                <a:gd name="T38" fmla="*/ 385 w 465"/>
                <a:gd name="T39" fmla="*/ 366 h 475"/>
                <a:gd name="T40" fmla="*/ 344 w 465"/>
                <a:gd name="T41" fmla="*/ 349 h 475"/>
                <a:gd name="T42" fmla="*/ 324 w 465"/>
                <a:gd name="T43" fmla="*/ 224 h 475"/>
                <a:gd name="T44" fmla="*/ 364 w 465"/>
                <a:gd name="T45" fmla="*/ 218 h 475"/>
                <a:gd name="T46" fmla="*/ 399 w 465"/>
                <a:gd name="T47" fmla="*/ 201 h 475"/>
                <a:gd name="T48" fmla="*/ 435 w 465"/>
                <a:gd name="T49" fmla="*/ 203 h 475"/>
                <a:gd name="T50" fmla="*/ 465 w 465"/>
                <a:gd name="T51" fmla="*/ 204 h 475"/>
                <a:gd name="T52" fmla="*/ 458 w 465"/>
                <a:gd name="T53" fmla="*/ 177 h 475"/>
                <a:gd name="T54" fmla="*/ 453 w 465"/>
                <a:gd name="T55" fmla="*/ 154 h 475"/>
                <a:gd name="T56" fmla="*/ 419 w 465"/>
                <a:gd name="T57" fmla="*/ 150 h 475"/>
                <a:gd name="T58" fmla="*/ 392 w 465"/>
                <a:gd name="T59" fmla="*/ 141 h 475"/>
                <a:gd name="T60" fmla="*/ 365 w 465"/>
                <a:gd name="T61" fmla="*/ 141 h 475"/>
                <a:gd name="T62" fmla="*/ 346 w 465"/>
                <a:gd name="T63" fmla="*/ 50 h 475"/>
                <a:gd name="T64" fmla="*/ 311 w 465"/>
                <a:gd name="T65" fmla="*/ 38 h 475"/>
                <a:gd name="T66" fmla="*/ 304 w 465"/>
                <a:gd name="T67" fmla="*/ 17 h 475"/>
                <a:gd name="T68" fmla="*/ 285 w 465"/>
                <a:gd name="T69" fmla="*/ 13 h 475"/>
                <a:gd name="T70" fmla="*/ 248 w 465"/>
                <a:gd name="T71" fmla="*/ 24 h 475"/>
                <a:gd name="T72" fmla="*/ 210 w 465"/>
                <a:gd name="T73" fmla="*/ 30 h 475"/>
                <a:gd name="T74" fmla="*/ 172 w 465"/>
                <a:gd name="T75" fmla="*/ 40 h 475"/>
                <a:gd name="T76" fmla="*/ 131 w 465"/>
                <a:gd name="T77" fmla="*/ 60 h 475"/>
                <a:gd name="T78" fmla="*/ 98 w 465"/>
                <a:gd name="T79" fmla="*/ 60 h 475"/>
                <a:gd name="T80" fmla="*/ 87 w 465"/>
                <a:gd name="T81" fmla="*/ 84 h 475"/>
                <a:gd name="T82" fmla="*/ 83 w 465"/>
                <a:gd name="T83" fmla="*/ 140 h 475"/>
                <a:gd name="T84" fmla="*/ 72 w 465"/>
                <a:gd name="T85" fmla="*/ 163 h 475"/>
                <a:gd name="T86" fmla="*/ 43 w 465"/>
                <a:gd name="T87" fmla="*/ 178 h 475"/>
                <a:gd name="T88" fmla="*/ 7 w 465"/>
                <a:gd name="T89" fmla="*/ 222 h 475"/>
                <a:gd name="T90" fmla="*/ 23 w 465"/>
                <a:gd name="T91" fmla="*/ 243 h 475"/>
                <a:gd name="T92" fmla="*/ 37 w 465"/>
                <a:gd name="T93" fmla="*/ 264 h 475"/>
                <a:gd name="T94" fmla="*/ 59 w 465"/>
                <a:gd name="T95" fmla="*/ 276 h 475"/>
                <a:gd name="T96" fmla="*/ 85 w 465"/>
                <a:gd name="T97" fmla="*/ 287 h 475"/>
                <a:gd name="T98" fmla="*/ 107 w 465"/>
                <a:gd name="T99" fmla="*/ 287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65" h="475">
                  <a:moveTo>
                    <a:pt x="124" y="300"/>
                  </a:moveTo>
                  <a:lnTo>
                    <a:pt x="135" y="299"/>
                  </a:lnTo>
                  <a:lnTo>
                    <a:pt x="143" y="297"/>
                  </a:lnTo>
                  <a:lnTo>
                    <a:pt x="147" y="303"/>
                  </a:lnTo>
                  <a:lnTo>
                    <a:pt x="148" y="308"/>
                  </a:lnTo>
                  <a:lnTo>
                    <a:pt x="159" y="311"/>
                  </a:lnTo>
                  <a:lnTo>
                    <a:pt x="165" y="314"/>
                  </a:lnTo>
                  <a:lnTo>
                    <a:pt x="172" y="311"/>
                  </a:lnTo>
                  <a:lnTo>
                    <a:pt x="181" y="319"/>
                  </a:lnTo>
                  <a:lnTo>
                    <a:pt x="186" y="325"/>
                  </a:lnTo>
                  <a:lnTo>
                    <a:pt x="176" y="331"/>
                  </a:lnTo>
                  <a:lnTo>
                    <a:pt x="185" y="338"/>
                  </a:lnTo>
                  <a:lnTo>
                    <a:pt x="190" y="342"/>
                  </a:lnTo>
                  <a:lnTo>
                    <a:pt x="191" y="351"/>
                  </a:lnTo>
                  <a:lnTo>
                    <a:pt x="206" y="355"/>
                  </a:lnTo>
                  <a:lnTo>
                    <a:pt x="212" y="349"/>
                  </a:lnTo>
                  <a:lnTo>
                    <a:pt x="226" y="356"/>
                  </a:lnTo>
                  <a:lnTo>
                    <a:pt x="232" y="354"/>
                  </a:lnTo>
                  <a:lnTo>
                    <a:pt x="237" y="358"/>
                  </a:lnTo>
                  <a:lnTo>
                    <a:pt x="252" y="359"/>
                  </a:lnTo>
                  <a:lnTo>
                    <a:pt x="259" y="368"/>
                  </a:lnTo>
                  <a:lnTo>
                    <a:pt x="269" y="372"/>
                  </a:lnTo>
                  <a:lnTo>
                    <a:pt x="279" y="373"/>
                  </a:lnTo>
                  <a:lnTo>
                    <a:pt x="283" y="365"/>
                  </a:lnTo>
                  <a:lnTo>
                    <a:pt x="292" y="365"/>
                  </a:lnTo>
                  <a:lnTo>
                    <a:pt x="299" y="367"/>
                  </a:lnTo>
                  <a:lnTo>
                    <a:pt x="294" y="373"/>
                  </a:lnTo>
                  <a:lnTo>
                    <a:pt x="286" y="379"/>
                  </a:lnTo>
                  <a:lnTo>
                    <a:pt x="283" y="388"/>
                  </a:lnTo>
                  <a:lnTo>
                    <a:pt x="293" y="387"/>
                  </a:lnTo>
                  <a:lnTo>
                    <a:pt x="294" y="398"/>
                  </a:lnTo>
                  <a:lnTo>
                    <a:pt x="293" y="408"/>
                  </a:lnTo>
                  <a:lnTo>
                    <a:pt x="287" y="410"/>
                  </a:lnTo>
                  <a:lnTo>
                    <a:pt x="286" y="416"/>
                  </a:lnTo>
                  <a:lnTo>
                    <a:pt x="292" y="423"/>
                  </a:lnTo>
                  <a:lnTo>
                    <a:pt x="299" y="429"/>
                  </a:lnTo>
                  <a:lnTo>
                    <a:pt x="294" y="438"/>
                  </a:lnTo>
                  <a:lnTo>
                    <a:pt x="286" y="441"/>
                  </a:lnTo>
                  <a:lnTo>
                    <a:pt x="289" y="447"/>
                  </a:lnTo>
                  <a:lnTo>
                    <a:pt x="300" y="447"/>
                  </a:lnTo>
                  <a:lnTo>
                    <a:pt x="301" y="455"/>
                  </a:lnTo>
                  <a:lnTo>
                    <a:pt x="310" y="461"/>
                  </a:lnTo>
                  <a:lnTo>
                    <a:pt x="317" y="455"/>
                  </a:lnTo>
                  <a:lnTo>
                    <a:pt x="320" y="448"/>
                  </a:lnTo>
                  <a:lnTo>
                    <a:pt x="311" y="446"/>
                  </a:lnTo>
                  <a:lnTo>
                    <a:pt x="317" y="441"/>
                  </a:lnTo>
                  <a:lnTo>
                    <a:pt x="328" y="441"/>
                  </a:lnTo>
                  <a:lnTo>
                    <a:pt x="335" y="440"/>
                  </a:lnTo>
                  <a:lnTo>
                    <a:pt x="346" y="439"/>
                  </a:lnTo>
                  <a:lnTo>
                    <a:pt x="341" y="446"/>
                  </a:lnTo>
                  <a:lnTo>
                    <a:pt x="341" y="454"/>
                  </a:lnTo>
                  <a:lnTo>
                    <a:pt x="349" y="457"/>
                  </a:lnTo>
                  <a:lnTo>
                    <a:pt x="357" y="453"/>
                  </a:lnTo>
                  <a:lnTo>
                    <a:pt x="360" y="448"/>
                  </a:lnTo>
                  <a:lnTo>
                    <a:pt x="370" y="458"/>
                  </a:lnTo>
                  <a:lnTo>
                    <a:pt x="371" y="449"/>
                  </a:lnTo>
                  <a:lnTo>
                    <a:pt x="377" y="446"/>
                  </a:lnTo>
                  <a:lnTo>
                    <a:pt x="384" y="452"/>
                  </a:lnTo>
                  <a:lnTo>
                    <a:pt x="388" y="459"/>
                  </a:lnTo>
                  <a:lnTo>
                    <a:pt x="383" y="464"/>
                  </a:lnTo>
                  <a:lnTo>
                    <a:pt x="389" y="475"/>
                  </a:lnTo>
                  <a:lnTo>
                    <a:pt x="398" y="465"/>
                  </a:lnTo>
                  <a:lnTo>
                    <a:pt x="407" y="470"/>
                  </a:lnTo>
                  <a:lnTo>
                    <a:pt x="415" y="468"/>
                  </a:lnTo>
                  <a:lnTo>
                    <a:pt x="417" y="458"/>
                  </a:lnTo>
                  <a:lnTo>
                    <a:pt x="417" y="452"/>
                  </a:lnTo>
                  <a:lnTo>
                    <a:pt x="422" y="447"/>
                  </a:lnTo>
                  <a:lnTo>
                    <a:pt x="423" y="440"/>
                  </a:lnTo>
                  <a:lnTo>
                    <a:pt x="416" y="435"/>
                  </a:lnTo>
                  <a:lnTo>
                    <a:pt x="405" y="431"/>
                  </a:lnTo>
                  <a:lnTo>
                    <a:pt x="409" y="425"/>
                  </a:lnTo>
                  <a:lnTo>
                    <a:pt x="401" y="418"/>
                  </a:lnTo>
                  <a:lnTo>
                    <a:pt x="395" y="411"/>
                  </a:lnTo>
                  <a:lnTo>
                    <a:pt x="390" y="403"/>
                  </a:lnTo>
                  <a:lnTo>
                    <a:pt x="395" y="398"/>
                  </a:lnTo>
                  <a:lnTo>
                    <a:pt x="399" y="391"/>
                  </a:lnTo>
                  <a:lnTo>
                    <a:pt x="394" y="387"/>
                  </a:lnTo>
                  <a:lnTo>
                    <a:pt x="394" y="379"/>
                  </a:lnTo>
                  <a:lnTo>
                    <a:pt x="395" y="370"/>
                  </a:lnTo>
                  <a:lnTo>
                    <a:pt x="385" y="366"/>
                  </a:lnTo>
                  <a:lnTo>
                    <a:pt x="374" y="361"/>
                  </a:lnTo>
                  <a:lnTo>
                    <a:pt x="365" y="355"/>
                  </a:lnTo>
                  <a:lnTo>
                    <a:pt x="355" y="350"/>
                  </a:lnTo>
                  <a:lnTo>
                    <a:pt x="344" y="349"/>
                  </a:lnTo>
                  <a:lnTo>
                    <a:pt x="334" y="341"/>
                  </a:lnTo>
                  <a:lnTo>
                    <a:pt x="328" y="330"/>
                  </a:lnTo>
                  <a:lnTo>
                    <a:pt x="324" y="321"/>
                  </a:lnTo>
                  <a:lnTo>
                    <a:pt x="324" y="224"/>
                  </a:lnTo>
                  <a:lnTo>
                    <a:pt x="336" y="221"/>
                  </a:lnTo>
                  <a:lnTo>
                    <a:pt x="342" y="217"/>
                  </a:lnTo>
                  <a:lnTo>
                    <a:pt x="353" y="219"/>
                  </a:lnTo>
                  <a:lnTo>
                    <a:pt x="364" y="218"/>
                  </a:lnTo>
                  <a:lnTo>
                    <a:pt x="371" y="212"/>
                  </a:lnTo>
                  <a:lnTo>
                    <a:pt x="379" y="206"/>
                  </a:lnTo>
                  <a:lnTo>
                    <a:pt x="386" y="209"/>
                  </a:lnTo>
                  <a:lnTo>
                    <a:pt x="399" y="201"/>
                  </a:lnTo>
                  <a:lnTo>
                    <a:pt x="403" y="196"/>
                  </a:lnTo>
                  <a:lnTo>
                    <a:pt x="412" y="197"/>
                  </a:lnTo>
                  <a:lnTo>
                    <a:pt x="422" y="203"/>
                  </a:lnTo>
                  <a:lnTo>
                    <a:pt x="435" y="203"/>
                  </a:lnTo>
                  <a:lnTo>
                    <a:pt x="440" y="208"/>
                  </a:lnTo>
                  <a:lnTo>
                    <a:pt x="447" y="211"/>
                  </a:lnTo>
                  <a:lnTo>
                    <a:pt x="453" y="204"/>
                  </a:lnTo>
                  <a:lnTo>
                    <a:pt x="465" y="204"/>
                  </a:lnTo>
                  <a:lnTo>
                    <a:pt x="460" y="196"/>
                  </a:lnTo>
                  <a:lnTo>
                    <a:pt x="455" y="190"/>
                  </a:lnTo>
                  <a:lnTo>
                    <a:pt x="460" y="185"/>
                  </a:lnTo>
                  <a:lnTo>
                    <a:pt x="458" y="177"/>
                  </a:lnTo>
                  <a:lnTo>
                    <a:pt x="465" y="174"/>
                  </a:lnTo>
                  <a:lnTo>
                    <a:pt x="456" y="169"/>
                  </a:lnTo>
                  <a:lnTo>
                    <a:pt x="457" y="161"/>
                  </a:lnTo>
                  <a:lnTo>
                    <a:pt x="453" y="154"/>
                  </a:lnTo>
                  <a:lnTo>
                    <a:pt x="445" y="148"/>
                  </a:lnTo>
                  <a:lnTo>
                    <a:pt x="435" y="146"/>
                  </a:lnTo>
                  <a:lnTo>
                    <a:pt x="425" y="141"/>
                  </a:lnTo>
                  <a:lnTo>
                    <a:pt x="419" y="150"/>
                  </a:lnTo>
                  <a:lnTo>
                    <a:pt x="409" y="144"/>
                  </a:lnTo>
                  <a:lnTo>
                    <a:pt x="404" y="148"/>
                  </a:lnTo>
                  <a:lnTo>
                    <a:pt x="395" y="148"/>
                  </a:lnTo>
                  <a:lnTo>
                    <a:pt x="392" y="141"/>
                  </a:lnTo>
                  <a:lnTo>
                    <a:pt x="383" y="141"/>
                  </a:lnTo>
                  <a:lnTo>
                    <a:pt x="375" y="146"/>
                  </a:lnTo>
                  <a:lnTo>
                    <a:pt x="371" y="140"/>
                  </a:lnTo>
                  <a:lnTo>
                    <a:pt x="365" y="141"/>
                  </a:lnTo>
                  <a:lnTo>
                    <a:pt x="360" y="146"/>
                  </a:lnTo>
                  <a:lnTo>
                    <a:pt x="352" y="147"/>
                  </a:lnTo>
                  <a:lnTo>
                    <a:pt x="352" y="55"/>
                  </a:lnTo>
                  <a:lnTo>
                    <a:pt x="346" y="50"/>
                  </a:lnTo>
                  <a:lnTo>
                    <a:pt x="340" y="48"/>
                  </a:lnTo>
                  <a:lnTo>
                    <a:pt x="327" y="49"/>
                  </a:lnTo>
                  <a:lnTo>
                    <a:pt x="318" y="48"/>
                  </a:lnTo>
                  <a:lnTo>
                    <a:pt x="311" y="38"/>
                  </a:lnTo>
                  <a:lnTo>
                    <a:pt x="305" y="33"/>
                  </a:lnTo>
                  <a:lnTo>
                    <a:pt x="297" y="29"/>
                  </a:lnTo>
                  <a:lnTo>
                    <a:pt x="297" y="22"/>
                  </a:lnTo>
                  <a:lnTo>
                    <a:pt x="304" y="17"/>
                  </a:lnTo>
                  <a:lnTo>
                    <a:pt x="305" y="10"/>
                  </a:lnTo>
                  <a:lnTo>
                    <a:pt x="304" y="0"/>
                  </a:lnTo>
                  <a:lnTo>
                    <a:pt x="297" y="11"/>
                  </a:lnTo>
                  <a:lnTo>
                    <a:pt x="285" y="13"/>
                  </a:lnTo>
                  <a:lnTo>
                    <a:pt x="270" y="16"/>
                  </a:lnTo>
                  <a:lnTo>
                    <a:pt x="263" y="16"/>
                  </a:lnTo>
                  <a:lnTo>
                    <a:pt x="255" y="18"/>
                  </a:lnTo>
                  <a:lnTo>
                    <a:pt x="248" y="24"/>
                  </a:lnTo>
                  <a:lnTo>
                    <a:pt x="237" y="24"/>
                  </a:lnTo>
                  <a:lnTo>
                    <a:pt x="230" y="28"/>
                  </a:lnTo>
                  <a:lnTo>
                    <a:pt x="219" y="31"/>
                  </a:lnTo>
                  <a:lnTo>
                    <a:pt x="210" y="30"/>
                  </a:lnTo>
                  <a:lnTo>
                    <a:pt x="202" y="29"/>
                  </a:lnTo>
                  <a:lnTo>
                    <a:pt x="191" y="31"/>
                  </a:lnTo>
                  <a:lnTo>
                    <a:pt x="178" y="30"/>
                  </a:lnTo>
                  <a:lnTo>
                    <a:pt x="172" y="40"/>
                  </a:lnTo>
                  <a:lnTo>
                    <a:pt x="165" y="47"/>
                  </a:lnTo>
                  <a:lnTo>
                    <a:pt x="153" y="47"/>
                  </a:lnTo>
                  <a:lnTo>
                    <a:pt x="141" y="53"/>
                  </a:lnTo>
                  <a:lnTo>
                    <a:pt x="131" y="60"/>
                  </a:lnTo>
                  <a:lnTo>
                    <a:pt x="128" y="70"/>
                  </a:lnTo>
                  <a:lnTo>
                    <a:pt x="121" y="76"/>
                  </a:lnTo>
                  <a:lnTo>
                    <a:pt x="107" y="68"/>
                  </a:lnTo>
                  <a:lnTo>
                    <a:pt x="98" y="60"/>
                  </a:lnTo>
                  <a:lnTo>
                    <a:pt x="87" y="59"/>
                  </a:lnTo>
                  <a:lnTo>
                    <a:pt x="80" y="67"/>
                  </a:lnTo>
                  <a:lnTo>
                    <a:pt x="83" y="77"/>
                  </a:lnTo>
                  <a:lnTo>
                    <a:pt x="87" y="84"/>
                  </a:lnTo>
                  <a:lnTo>
                    <a:pt x="87" y="98"/>
                  </a:lnTo>
                  <a:lnTo>
                    <a:pt x="86" y="115"/>
                  </a:lnTo>
                  <a:lnTo>
                    <a:pt x="81" y="128"/>
                  </a:lnTo>
                  <a:lnTo>
                    <a:pt x="83" y="140"/>
                  </a:lnTo>
                  <a:lnTo>
                    <a:pt x="86" y="151"/>
                  </a:lnTo>
                  <a:lnTo>
                    <a:pt x="76" y="150"/>
                  </a:lnTo>
                  <a:lnTo>
                    <a:pt x="73" y="156"/>
                  </a:lnTo>
                  <a:lnTo>
                    <a:pt x="72" y="163"/>
                  </a:lnTo>
                  <a:lnTo>
                    <a:pt x="67" y="169"/>
                  </a:lnTo>
                  <a:lnTo>
                    <a:pt x="59" y="174"/>
                  </a:lnTo>
                  <a:lnTo>
                    <a:pt x="52" y="171"/>
                  </a:lnTo>
                  <a:lnTo>
                    <a:pt x="43" y="178"/>
                  </a:lnTo>
                  <a:lnTo>
                    <a:pt x="44" y="188"/>
                  </a:lnTo>
                  <a:lnTo>
                    <a:pt x="8" y="217"/>
                  </a:lnTo>
                  <a:lnTo>
                    <a:pt x="0" y="222"/>
                  </a:lnTo>
                  <a:lnTo>
                    <a:pt x="7" y="222"/>
                  </a:lnTo>
                  <a:lnTo>
                    <a:pt x="8" y="231"/>
                  </a:lnTo>
                  <a:lnTo>
                    <a:pt x="13" y="236"/>
                  </a:lnTo>
                  <a:lnTo>
                    <a:pt x="19" y="233"/>
                  </a:lnTo>
                  <a:lnTo>
                    <a:pt x="23" y="243"/>
                  </a:lnTo>
                  <a:lnTo>
                    <a:pt x="23" y="250"/>
                  </a:lnTo>
                  <a:lnTo>
                    <a:pt x="31" y="247"/>
                  </a:lnTo>
                  <a:lnTo>
                    <a:pt x="35" y="256"/>
                  </a:lnTo>
                  <a:lnTo>
                    <a:pt x="37" y="264"/>
                  </a:lnTo>
                  <a:lnTo>
                    <a:pt x="44" y="263"/>
                  </a:lnTo>
                  <a:lnTo>
                    <a:pt x="49" y="269"/>
                  </a:lnTo>
                  <a:lnTo>
                    <a:pt x="55" y="270"/>
                  </a:lnTo>
                  <a:lnTo>
                    <a:pt x="59" y="276"/>
                  </a:lnTo>
                  <a:lnTo>
                    <a:pt x="65" y="282"/>
                  </a:lnTo>
                  <a:lnTo>
                    <a:pt x="72" y="286"/>
                  </a:lnTo>
                  <a:lnTo>
                    <a:pt x="79" y="284"/>
                  </a:lnTo>
                  <a:lnTo>
                    <a:pt x="85" y="287"/>
                  </a:lnTo>
                  <a:lnTo>
                    <a:pt x="90" y="291"/>
                  </a:lnTo>
                  <a:lnTo>
                    <a:pt x="96" y="287"/>
                  </a:lnTo>
                  <a:lnTo>
                    <a:pt x="100" y="291"/>
                  </a:lnTo>
                  <a:lnTo>
                    <a:pt x="107" y="287"/>
                  </a:lnTo>
                  <a:lnTo>
                    <a:pt x="114" y="288"/>
                  </a:lnTo>
                  <a:lnTo>
                    <a:pt x="117" y="294"/>
                  </a:lnTo>
                  <a:lnTo>
                    <a:pt x="124" y="300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75" name="Freeform 71">
              <a:extLst>
                <a:ext uri="{FF2B5EF4-FFF2-40B4-BE49-F238E27FC236}">
                  <a16:creationId xmlns:a16="http://schemas.microsoft.com/office/drawing/2014/main" id="{579B7971-ECC1-41F6-ABF4-98606665B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365"/>
              <a:ext cx="465" cy="475"/>
            </a:xfrm>
            <a:custGeom>
              <a:avLst/>
              <a:gdLst>
                <a:gd name="T0" fmla="*/ 147 w 465"/>
                <a:gd name="T1" fmla="*/ 303 h 475"/>
                <a:gd name="T2" fmla="*/ 172 w 465"/>
                <a:gd name="T3" fmla="*/ 311 h 475"/>
                <a:gd name="T4" fmla="*/ 185 w 465"/>
                <a:gd name="T5" fmla="*/ 338 h 475"/>
                <a:gd name="T6" fmla="*/ 212 w 465"/>
                <a:gd name="T7" fmla="*/ 349 h 475"/>
                <a:gd name="T8" fmla="*/ 252 w 465"/>
                <a:gd name="T9" fmla="*/ 359 h 475"/>
                <a:gd name="T10" fmla="*/ 283 w 465"/>
                <a:gd name="T11" fmla="*/ 365 h 475"/>
                <a:gd name="T12" fmla="*/ 286 w 465"/>
                <a:gd name="T13" fmla="*/ 379 h 475"/>
                <a:gd name="T14" fmla="*/ 293 w 465"/>
                <a:gd name="T15" fmla="*/ 408 h 475"/>
                <a:gd name="T16" fmla="*/ 299 w 465"/>
                <a:gd name="T17" fmla="*/ 429 h 475"/>
                <a:gd name="T18" fmla="*/ 300 w 465"/>
                <a:gd name="T19" fmla="*/ 447 h 475"/>
                <a:gd name="T20" fmla="*/ 320 w 465"/>
                <a:gd name="T21" fmla="*/ 448 h 475"/>
                <a:gd name="T22" fmla="*/ 335 w 465"/>
                <a:gd name="T23" fmla="*/ 440 h 475"/>
                <a:gd name="T24" fmla="*/ 349 w 465"/>
                <a:gd name="T25" fmla="*/ 457 h 475"/>
                <a:gd name="T26" fmla="*/ 371 w 465"/>
                <a:gd name="T27" fmla="*/ 449 h 475"/>
                <a:gd name="T28" fmla="*/ 383 w 465"/>
                <a:gd name="T29" fmla="*/ 464 h 475"/>
                <a:gd name="T30" fmla="*/ 415 w 465"/>
                <a:gd name="T31" fmla="*/ 468 h 475"/>
                <a:gd name="T32" fmla="*/ 423 w 465"/>
                <a:gd name="T33" fmla="*/ 440 h 475"/>
                <a:gd name="T34" fmla="*/ 401 w 465"/>
                <a:gd name="T35" fmla="*/ 418 h 475"/>
                <a:gd name="T36" fmla="*/ 399 w 465"/>
                <a:gd name="T37" fmla="*/ 391 h 475"/>
                <a:gd name="T38" fmla="*/ 385 w 465"/>
                <a:gd name="T39" fmla="*/ 366 h 475"/>
                <a:gd name="T40" fmla="*/ 344 w 465"/>
                <a:gd name="T41" fmla="*/ 349 h 475"/>
                <a:gd name="T42" fmla="*/ 324 w 465"/>
                <a:gd name="T43" fmla="*/ 224 h 475"/>
                <a:gd name="T44" fmla="*/ 364 w 465"/>
                <a:gd name="T45" fmla="*/ 218 h 475"/>
                <a:gd name="T46" fmla="*/ 399 w 465"/>
                <a:gd name="T47" fmla="*/ 201 h 475"/>
                <a:gd name="T48" fmla="*/ 435 w 465"/>
                <a:gd name="T49" fmla="*/ 203 h 475"/>
                <a:gd name="T50" fmla="*/ 465 w 465"/>
                <a:gd name="T51" fmla="*/ 204 h 475"/>
                <a:gd name="T52" fmla="*/ 458 w 465"/>
                <a:gd name="T53" fmla="*/ 177 h 475"/>
                <a:gd name="T54" fmla="*/ 453 w 465"/>
                <a:gd name="T55" fmla="*/ 154 h 475"/>
                <a:gd name="T56" fmla="*/ 419 w 465"/>
                <a:gd name="T57" fmla="*/ 150 h 475"/>
                <a:gd name="T58" fmla="*/ 392 w 465"/>
                <a:gd name="T59" fmla="*/ 141 h 475"/>
                <a:gd name="T60" fmla="*/ 365 w 465"/>
                <a:gd name="T61" fmla="*/ 141 h 475"/>
                <a:gd name="T62" fmla="*/ 346 w 465"/>
                <a:gd name="T63" fmla="*/ 50 h 475"/>
                <a:gd name="T64" fmla="*/ 311 w 465"/>
                <a:gd name="T65" fmla="*/ 38 h 475"/>
                <a:gd name="T66" fmla="*/ 304 w 465"/>
                <a:gd name="T67" fmla="*/ 17 h 475"/>
                <a:gd name="T68" fmla="*/ 285 w 465"/>
                <a:gd name="T69" fmla="*/ 13 h 475"/>
                <a:gd name="T70" fmla="*/ 248 w 465"/>
                <a:gd name="T71" fmla="*/ 24 h 475"/>
                <a:gd name="T72" fmla="*/ 210 w 465"/>
                <a:gd name="T73" fmla="*/ 30 h 475"/>
                <a:gd name="T74" fmla="*/ 172 w 465"/>
                <a:gd name="T75" fmla="*/ 40 h 475"/>
                <a:gd name="T76" fmla="*/ 131 w 465"/>
                <a:gd name="T77" fmla="*/ 60 h 475"/>
                <a:gd name="T78" fmla="*/ 98 w 465"/>
                <a:gd name="T79" fmla="*/ 60 h 475"/>
                <a:gd name="T80" fmla="*/ 87 w 465"/>
                <a:gd name="T81" fmla="*/ 84 h 475"/>
                <a:gd name="T82" fmla="*/ 83 w 465"/>
                <a:gd name="T83" fmla="*/ 140 h 475"/>
                <a:gd name="T84" fmla="*/ 72 w 465"/>
                <a:gd name="T85" fmla="*/ 163 h 475"/>
                <a:gd name="T86" fmla="*/ 43 w 465"/>
                <a:gd name="T87" fmla="*/ 178 h 475"/>
                <a:gd name="T88" fmla="*/ 7 w 465"/>
                <a:gd name="T89" fmla="*/ 222 h 475"/>
                <a:gd name="T90" fmla="*/ 23 w 465"/>
                <a:gd name="T91" fmla="*/ 243 h 475"/>
                <a:gd name="T92" fmla="*/ 37 w 465"/>
                <a:gd name="T93" fmla="*/ 264 h 475"/>
                <a:gd name="T94" fmla="*/ 59 w 465"/>
                <a:gd name="T95" fmla="*/ 276 h 475"/>
                <a:gd name="T96" fmla="*/ 85 w 465"/>
                <a:gd name="T97" fmla="*/ 287 h 475"/>
                <a:gd name="T98" fmla="*/ 107 w 465"/>
                <a:gd name="T99" fmla="*/ 287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65" h="475">
                  <a:moveTo>
                    <a:pt x="124" y="300"/>
                  </a:moveTo>
                  <a:lnTo>
                    <a:pt x="135" y="299"/>
                  </a:lnTo>
                  <a:lnTo>
                    <a:pt x="143" y="297"/>
                  </a:lnTo>
                  <a:lnTo>
                    <a:pt x="147" y="303"/>
                  </a:lnTo>
                  <a:lnTo>
                    <a:pt x="148" y="308"/>
                  </a:lnTo>
                  <a:lnTo>
                    <a:pt x="159" y="311"/>
                  </a:lnTo>
                  <a:lnTo>
                    <a:pt x="165" y="314"/>
                  </a:lnTo>
                  <a:lnTo>
                    <a:pt x="172" y="311"/>
                  </a:lnTo>
                  <a:lnTo>
                    <a:pt x="181" y="319"/>
                  </a:lnTo>
                  <a:lnTo>
                    <a:pt x="186" y="325"/>
                  </a:lnTo>
                  <a:lnTo>
                    <a:pt x="176" y="331"/>
                  </a:lnTo>
                  <a:lnTo>
                    <a:pt x="185" y="338"/>
                  </a:lnTo>
                  <a:lnTo>
                    <a:pt x="190" y="342"/>
                  </a:lnTo>
                  <a:lnTo>
                    <a:pt x="191" y="351"/>
                  </a:lnTo>
                  <a:lnTo>
                    <a:pt x="206" y="355"/>
                  </a:lnTo>
                  <a:lnTo>
                    <a:pt x="212" y="349"/>
                  </a:lnTo>
                  <a:lnTo>
                    <a:pt x="226" y="356"/>
                  </a:lnTo>
                  <a:lnTo>
                    <a:pt x="232" y="354"/>
                  </a:lnTo>
                  <a:lnTo>
                    <a:pt x="237" y="358"/>
                  </a:lnTo>
                  <a:lnTo>
                    <a:pt x="252" y="359"/>
                  </a:lnTo>
                  <a:lnTo>
                    <a:pt x="259" y="368"/>
                  </a:lnTo>
                  <a:lnTo>
                    <a:pt x="269" y="372"/>
                  </a:lnTo>
                  <a:lnTo>
                    <a:pt x="279" y="373"/>
                  </a:lnTo>
                  <a:lnTo>
                    <a:pt x="283" y="365"/>
                  </a:lnTo>
                  <a:lnTo>
                    <a:pt x="292" y="365"/>
                  </a:lnTo>
                  <a:lnTo>
                    <a:pt x="299" y="367"/>
                  </a:lnTo>
                  <a:lnTo>
                    <a:pt x="294" y="373"/>
                  </a:lnTo>
                  <a:lnTo>
                    <a:pt x="286" y="379"/>
                  </a:lnTo>
                  <a:lnTo>
                    <a:pt x="283" y="388"/>
                  </a:lnTo>
                  <a:lnTo>
                    <a:pt x="293" y="387"/>
                  </a:lnTo>
                  <a:lnTo>
                    <a:pt x="294" y="398"/>
                  </a:lnTo>
                  <a:lnTo>
                    <a:pt x="293" y="408"/>
                  </a:lnTo>
                  <a:lnTo>
                    <a:pt x="287" y="410"/>
                  </a:lnTo>
                  <a:lnTo>
                    <a:pt x="286" y="416"/>
                  </a:lnTo>
                  <a:lnTo>
                    <a:pt x="292" y="423"/>
                  </a:lnTo>
                  <a:lnTo>
                    <a:pt x="299" y="429"/>
                  </a:lnTo>
                  <a:lnTo>
                    <a:pt x="294" y="438"/>
                  </a:lnTo>
                  <a:lnTo>
                    <a:pt x="286" y="441"/>
                  </a:lnTo>
                  <a:lnTo>
                    <a:pt x="289" y="447"/>
                  </a:lnTo>
                  <a:lnTo>
                    <a:pt x="300" y="447"/>
                  </a:lnTo>
                  <a:lnTo>
                    <a:pt x="301" y="455"/>
                  </a:lnTo>
                  <a:lnTo>
                    <a:pt x="310" y="461"/>
                  </a:lnTo>
                  <a:lnTo>
                    <a:pt x="317" y="455"/>
                  </a:lnTo>
                  <a:lnTo>
                    <a:pt x="320" y="448"/>
                  </a:lnTo>
                  <a:lnTo>
                    <a:pt x="311" y="446"/>
                  </a:lnTo>
                  <a:lnTo>
                    <a:pt x="317" y="441"/>
                  </a:lnTo>
                  <a:lnTo>
                    <a:pt x="328" y="441"/>
                  </a:lnTo>
                  <a:lnTo>
                    <a:pt x="335" y="440"/>
                  </a:lnTo>
                  <a:lnTo>
                    <a:pt x="346" y="439"/>
                  </a:lnTo>
                  <a:lnTo>
                    <a:pt x="341" y="446"/>
                  </a:lnTo>
                  <a:lnTo>
                    <a:pt x="341" y="454"/>
                  </a:lnTo>
                  <a:lnTo>
                    <a:pt x="349" y="457"/>
                  </a:lnTo>
                  <a:lnTo>
                    <a:pt x="357" y="453"/>
                  </a:lnTo>
                  <a:lnTo>
                    <a:pt x="360" y="448"/>
                  </a:lnTo>
                  <a:lnTo>
                    <a:pt x="370" y="458"/>
                  </a:lnTo>
                  <a:lnTo>
                    <a:pt x="371" y="449"/>
                  </a:lnTo>
                  <a:lnTo>
                    <a:pt x="377" y="446"/>
                  </a:lnTo>
                  <a:lnTo>
                    <a:pt x="384" y="452"/>
                  </a:lnTo>
                  <a:lnTo>
                    <a:pt x="388" y="459"/>
                  </a:lnTo>
                  <a:lnTo>
                    <a:pt x="383" y="464"/>
                  </a:lnTo>
                  <a:lnTo>
                    <a:pt x="389" y="475"/>
                  </a:lnTo>
                  <a:lnTo>
                    <a:pt x="398" y="465"/>
                  </a:lnTo>
                  <a:lnTo>
                    <a:pt x="407" y="470"/>
                  </a:lnTo>
                  <a:lnTo>
                    <a:pt x="415" y="468"/>
                  </a:lnTo>
                  <a:lnTo>
                    <a:pt x="417" y="458"/>
                  </a:lnTo>
                  <a:lnTo>
                    <a:pt x="417" y="452"/>
                  </a:lnTo>
                  <a:lnTo>
                    <a:pt x="422" y="447"/>
                  </a:lnTo>
                  <a:lnTo>
                    <a:pt x="423" y="440"/>
                  </a:lnTo>
                  <a:lnTo>
                    <a:pt x="416" y="435"/>
                  </a:lnTo>
                  <a:lnTo>
                    <a:pt x="405" y="431"/>
                  </a:lnTo>
                  <a:lnTo>
                    <a:pt x="409" y="425"/>
                  </a:lnTo>
                  <a:lnTo>
                    <a:pt x="401" y="418"/>
                  </a:lnTo>
                  <a:lnTo>
                    <a:pt x="395" y="411"/>
                  </a:lnTo>
                  <a:lnTo>
                    <a:pt x="390" y="403"/>
                  </a:lnTo>
                  <a:lnTo>
                    <a:pt x="395" y="398"/>
                  </a:lnTo>
                  <a:lnTo>
                    <a:pt x="399" y="391"/>
                  </a:lnTo>
                  <a:lnTo>
                    <a:pt x="394" y="387"/>
                  </a:lnTo>
                  <a:lnTo>
                    <a:pt x="394" y="379"/>
                  </a:lnTo>
                  <a:lnTo>
                    <a:pt x="395" y="370"/>
                  </a:lnTo>
                  <a:lnTo>
                    <a:pt x="385" y="366"/>
                  </a:lnTo>
                  <a:lnTo>
                    <a:pt x="374" y="361"/>
                  </a:lnTo>
                  <a:lnTo>
                    <a:pt x="365" y="355"/>
                  </a:lnTo>
                  <a:lnTo>
                    <a:pt x="355" y="350"/>
                  </a:lnTo>
                  <a:lnTo>
                    <a:pt x="344" y="349"/>
                  </a:lnTo>
                  <a:lnTo>
                    <a:pt x="334" y="341"/>
                  </a:lnTo>
                  <a:lnTo>
                    <a:pt x="328" y="330"/>
                  </a:lnTo>
                  <a:lnTo>
                    <a:pt x="324" y="321"/>
                  </a:lnTo>
                  <a:lnTo>
                    <a:pt x="324" y="224"/>
                  </a:lnTo>
                  <a:lnTo>
                    <a:pt x="336" y="221"/>
                  </a:lnTo>
                  <a:lnTo>
                    <a:pt x="342" y="217"/>
                  </a:lnTo>
                  <a:lnTo>
                    <a:pt x="353" y="219"/>
                  </a:lnTo>
                  <a:lnTo>
                    <a:pt x="364" y="218"/>
                  </a:lnTo>
                  <a:lnTo>
                    <a:pt x="371" y="212"/>
                  </a:lnTo>
                  <a:lnTo>
                    <a:pt x="379" y="206"/>
                  </a:lnTo>
                  <a:lnTo>
                    <a:pt x="386" y="209"/>
                  </a:lnTo>
                  <a:lnTo>
                    <a:pt x="399" y="201"/>
                  </a:lnTo>
                  <a:lnTo>
                    <a:pt x="403" y="196"/>
                  </a:lnTo>
                  <a:lnTo>
                    <a:pt x="412" y="197"/>
                  </a:lnTo>
                  <a:lnTo>
                    <a:pt x="422" y="203"/>
                  </a:lnTo>
                  <a:lnTo>
                    <a:pt x="435" y="203"/>
                  </a:lnTo>
                  <a:lnTo>
                    <a:pt x="440" y="208"/>
                  </a:lnTo>
                  <a:lnTo>
                    <a:pt x="447" y="211"/>
                  </a:lnTo>
                  <a:lnTo>
                    <a:pt x="453" y="204"/>
                  </a:lnTo>
                  <a:lnTo>
                    <a:pt x="465" y="204"/>
                  </a:lnTo>
                  <a:lnTo>
                    <a:pt x="460" y="196"/>
                  </a:lnTo>
                  <a:lnTo>
                    <a:pt x="455" y="190"/>
                  </a:lnTo>
                  <a:lnTo>
                    <a:pt x="460" y="185"/>
                  </a:lnTo>
                  <a:lnTo>
                    <a:pt x="458" y="177"/>
                  </a:lnTo>
                  <a:lnTo>
                    <a:pt x="465" y="174"/>
                  </a:lnTo>
                  <a:lnTo>
                    <a:pt x="456" y="169"/>
                  </a:lnTo>
                  <a:lnTo>
                    <a:pt x="457" y="161"/>
                  </a:lnTo>
                  <a:lnTo>
                    <a:pt x="453" y="154"/>
                  </a:lnTo>
                  <a:lnTo>
                    <a:pt x="445" y="148"/>
                  </a:lnTo>
                  <a:lnTo>
                    <a:pt x="435" y="146"/>
                  </a:lnTo>
                  <a:lnTo>
                    <a:pt x="425" y="141"/>
                  </a:lnTo>
                  <a:lnTo>
                    <a:pt x="419" y="150"/>
                  </a:lnTo>
                  <a:lnTo>
                    <a:pt x="409" y="144"/>
                  </a:lnTo>
                  <a:lnTo>
                    <a:pt x="404" y="148"/>
                  </a:lnTo>
                  <a:lnTo>
                    <a:pt x="395" y="148"/>
                  </a:lnTo>
                  <a:lnTo>
                    <a:pt x="392" y="141"/>
                  </a:lnTo>
                  <a:lnTo>
                    <a:pt x="383" y="141"/>
                  </a:lnTo>
                  <a:lnTo>
                    <a:pt x="375" y="146"/>
                  </a:lnTo>
                  <a:lnTo>
                    <a:pt x="371" y="140"/>
                  </a:lnTo>
                  <a:lnTo>
                    <a:pt x="365" y="141"/>
                  </a:lnTo>
                  <a:lnTo>
                    <a:pt x="360" y="146"/>
                  </a:lnTo>
                  <a:lnTo>
                    <a:pt x="352" y="147"/>
                  </a:lnTo>
                  <a:lnTo>
                    <a:pt x="352" y="55"/>
                  </a:lnTo>
                  <a:lnTo>
                    <a:pt x="346" y="50"/>
                  </a:lnTo>
                  <a:lnTo>
                    <a:pt x="340" y="48"/>
                  </a:lnTo>
                  <a:lnTo>
                    <a:pt x="327" y="49"/>
                  </a:lnTo>
                  <a:lnTo>
                    <a:pt x="318" y="48"/>
                  </a:lnTo>
                  <a:lnTo>
                    <a:pt x="311" y="38"/>
                  </a:lnTo>
                  <a:lnTo>
                    <a:pt x="305" y="33"/>
                  </a:lnTo>
                  <a:lnTo>
                    <a:pt x="297" y="29"/>
                  </a:lnTo>
                  <a:lnTo>
                    <a:pt x="297" y="22"/>
                  </a:lnTo>
                  <a:lnTo>
                    <a:pt x="304" y="17"/>
                  </a:lnTo>
                  <a:lnTo>
                    <a:pt x="305" y="10"/>
                  </a:lnTo>
                  <a:lnTo>
                    <a:pt x="304" y="0"/>
                  </a:lnTo>
                  <a:lnTo>
                    <a:pt x="297" y="11"/>
                  </a:lnTo>
                  <a:lnTo>
                    <a:pt x="285" y="13"/>
                  </a:lnTo>
                  <a:lnTo>
                    <a:pt x="270" y="16"/>
                  </a:lnTo>
                  <a:lnTo>
                    <a:pt x="263" y="16"/>
                  </a:lnTo>
                  <a:lnTo>
                    <a:pt x="255" y="18"/>
                  </a:lnTo>
                  <a:lnTo>
                    <a:pt x="248" y="24"/>
                  </a:lnTo>
                  <a:lnTo>
                    <a:pt x="237" y="24"/>
                  </a:lnTo>
                  <a:lnTo>
                    <a:pt x="230" y="28"/>
                  </a:lnTo>
                  <a:lnTo>
                    <a:pt x="219" y="31"/>
                  </a:lnTo>
                  <a:lnTo>
                    <a:pt x="210" y="30"/>
                  </a:lnTo>
                  <a:lnTo>
                    <a:pt x="202" y="29"/>
                  </a:lnTo>
                  <a:lnTo>
                    <a:pt x="191" y="31"/>
                  </a:lnTo>
                  <a:lnTo>
                    <a:pt x="178" y="30"/>
                  </a:lnTo>
                  <a:lnTo>
                    <a:pt x="172" y="40"/>
                  </a:lnTo>
                  <a:lnTo>
                    <a:pt x="165" y="47"/>
                  </a:lnTo>
                  <a:lnTo>
                    <a:pt x="153" y="47"/>
                  </a:lnTo>
                  <a:lnTo>
                    <a:pt x="141" y="53"/>
                  </a:lnTo>
                  <a:lnTo>
                    <a:pt x="131" y="60"/>
                  </a:lnTo>
                  <a:lnTo>
                    <a:pt x="128" y="70"/>
                  </a:lnTo>
                  <a:lnTo>
                    <a:pt x="121" y="76"/>
                  </a:lnTo>
                  <a:lnTo>
                    <a:pt x="107" y="68"/>
                  </a:lnTo>
                  <a:lnTo>
                    <a:pt x="98" y="60"/>
                  </a:lnTo>
                  <a:lnTo>
                    <a:pt x="87" y="59"/>
                  </a:lnTo>
                  <a:lnTo>
                    <a:pt x="80" y="67"/>
                  </a:lnTo>
                  <a:lnTo>
                    <a:pt x="83" y="77"/>
                  </a:lnTo>
                  <a:lnTo>
                    <a:pt x="87" y="84"/>
                  </a:lnTo>
                  <a:lnTo>
                    <a:pt x="87" y="98"/>
                  </a:lnTo>
                  <a:lnTo>
                    <a:pt x="86" y="115"/>
                  </a:lnTo>
                  <a:lnTo>
                    <a:pt x="81" y="128"/>
                  </a:lnTo>
                  <a:lnTo>
                    <a:pt x="83" y="140"/>
                  </a:lnTo>
                  <a:lnTo>
                    <a:pt x="86" y="151"/>
                  </a:lnTo>
                  <a:lnTo>
                    <a:pt x="76" y="150"/>
                  </a:lnTo>
                  <a:lnTo>
                    <a:pt x="73" y="156"/>
                  </a:lnTo>
                  <a:lnTo>
                    <a:pt x="72" y="163"/>
                  </a:lnTo>
                  <a:lnTo>
                    <a:pt x="67" y="169"/>
                  </a:lnTo>
                  <a:lnTo>
                    <a:pt x="59" y="174"/>
                  </a:lnTo>
                  <a:lnTo>
                    <a:pt x="52" y="171"/>
                  </a:lnTo>
                  <a:lnTo>
                    <a:pt x="43" y="178"/>
                  </a:lnTo>
                  <a:lnTo>
                    <a:pt x="44" y="188"/>
                  </a:lnTo>
                  <a:lnTo>
                    <a:pt x="8" y="217"/>
                  </a:lnTo>
                  <a:lnTo>
                    <a:pt x="0" y="222"/>
                  </a:lnTo>
                  <a:lnTo>
                    <a:pt x="7" y="222"/>
                  </a:lnTo>
                  <a:lnTo>
                    <a:pt x="8" y="231"/>
                  </a:lnTo>
                  <a:lnTo>
                    <a:pt x="13" y="236"/>
                  </a:lnTo>
                  <a:lnTo>
                    <a:pt x="19" y="233"/>
                  </a:lnTo>
                  <a:lnTo>
                    <a:pt x="23" y="243"/>
                  </a:lnTo>
                  <a:lnTo>
                    <a:pt x="23" y="250"/>
                  </a:lnTo>
                  <a:lnTo>
                    <a:pt x="31" y="247"/>
                  </a:lnTo>
                  <a:lnTo>
                    <a:pt x="35" y="256"/>
                  </a:lnTo>
                  <a:lnTo>
                    <a:pt x="37" y="264"/>
                  </a:lnTo>
                  <a:lnTo>
                    <a:pt x="44" y="263"/>
                  </a:lnTo>
                  <a:lnTo>
                    <a:pt x="49" y="269"/>
                  </a:lnTo>
                  <a:lnTo>
                    <a:pt x="55" y="270"/>
                  </a:lnTo>
                  <a:lnTo>
                    <a:pt x="59" y="276"/>
                  </a:lnTo>
                  <a:lnTo>
                    <a:pt x="65" y="282"/>
                  </a:lnTo>
                  <a:lnTo>
                    <a:pt x="72" y="286"/>
                  </a:lnTo>
                  <a:lnTo>
                    <a:pt x="79" y="284"/>
                  </a:lnTo>
                  <a:lnTo>
                    <a:pt x="85" y="287"/>
                  </a:lnTo>
                  <a:lnTo>
                    <a:pt x="90" y="291"/>
                  </a:lnTo>
                  <a:lnTo>
                    <a:pt x="96" y="287"/>
                  </a:lnTo>
                  <a:lnTo>
                    <a:pt x="100" y="291"/>
                  </a:lnTo>
                  <a:lnTo>
                    <a:pt x="107" y="287"/>
                  </a:lnTo>
                  <a:lnTo>
                    <a:pt x="114" y="288"/>
                  </a:lnTo>
                  <a:lnTo>
                    <a:pt x="117" y="294"/>
                  </a:lnTo>
                  <a:lnTo>
                    <a:pt x="124" y="300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76" name="Freeform 72">
              <a:extLst>
                <a:ext uri="{FF2B5EF4-FFF2-40B4-BE49-F238E27FC236}">
                  <a16:creationId xmlns:a16="http://schemas.microsoft.com/office/drawing/2014/main" id="{9BD9FF6E-751F-4EB8-AF29-E94285A51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3" y="2661"/>
              <a:ext cx="798" cy="597"/>
            </a:xfrm>
            <a:custGeom>
              <a:avLst/>
              <a:gdLst>
                <a:gd name="T0" fmla="*/ 110 w 798"/>
                <a:gd name="T1" fmla="*/ 91 h 597"/>
                <a:gd name="T2" fmla="*/ 139 w 798"/>
                <a:gd name="T3" fmla="*/ 103 h 597"/>
                <a:gd name="T4" fmla="*/ 182 w 798"/>
                <a:gd name="T5" fmla="*/ 112 h 597"/>
                <a:gd name="T6" fmla="*/ 226 w 798"/>
                <a:gd name="T7" fmla="*/ 107 h 597"/>
                <a:gd name="T8" fmla="*/ 266 w 798"/>
                <a:gd name="T9" fmla="*/ 110 h 597"/>
                <a:gd name="T10" fmla="*/ 308 w 798"/>
                <a:gd name="T11" fmla="*/ 108 h 597"/>
                <a:gd name="T12" fmla="*/ 345 w 798"/>
                <a:gd name="T13" fmla="*/ 106 h 597"/>
                <a:gd name="T14" fmla="*/ 374 w 798"/>
                <a:gd name="T15" fmla="*/ 71 h 597"/>
                <a:gd name="T16" fmla="*/ 416 w 798"/>
                <a:gd name="T17" fmla="*/ 56 h 597"/>
                <a:gd name="T18" fmla="*/ 442 w 798"/>
                <a:gd name="T19" fmla="*/ 20 h 597"/>
                <a:gd name="T20" fmla="*/ 486 w 798"/>
                <a:gd name="T21" fmla="*/ 0 h 597"/>
                <a:gd name="T22" fmla="*/ 517 w 798"/>
                <a:gd name="T23" fmla="*/ 15 h 597"/>
                <a:gd name="T24" fmla="*/ 556 w 798"/>
                <a:gd name="T25" fmla="*/ 31 h 597"/>
                <a:gd name="T26" fmla="*/ 575 w 798"/>
                <a:gd name="T27" fmla="*/ 61 h 597"/>
                <a:gd name="T28" fmla="*/ 622 w 798"/>
                <a:gd name="T29" fmla="*/ 65 h 597"/>
                <a:gd name="T30" fmla="*/ 661 w 798"/>
                <a:gd name="T31" fmla="*/ 71 h 597"/>
                <a:gd name="T32" fmla="*/ 663 w 798"/>
                <a:gd name="T33" fmla="*/ 94 h 597"/>
                <a:gd name="T34" fmla="*/ 661 w 798"/>
                <a:gd name="T35" fmla="*/ 129 h 597"/>
                <a:gd name="T36" fmla="*/ 670 w 798"/>
                <a:gd name="T37" fmla="*/ 153 h 597"/>
                <a:gd name="T38" fmla="*/ 681 w 798"/>
                <a:gd name="T39" fmla="*/ 152 h 597"/>
                <a:gd name="T40" fmla="*/ 711 w 798"/>
                <a:gd name="T41" fmla="*/ 152 h 597"/>
                <a:gd name="T42" fmla="*/ 740 w 798"/>
                <a:gd name="T43" fmla="*/ 165 h 597"/>
                <a:gd name="T44" fmla="*/ 753 w 798"/>
                <a:gd name="T45" fmla="*/ 170 h 597"/>
                <a:gd name="T46" fmla="*/ 788 w 798"/>
                <a:gd name="T47" fmla="*/ 165 h 597"/>
                <a:gd name="T48" fmla="*/ 792 w 798"/>
                <a:gd name="T49" fmla="*/ 186 h 597"/>
                <a:gd name="T50" fmla="*/ 716 w 798"/>
                <a:gd name="T51" fmla="*/ 597 h 597"/>
                <a:gd name="T52" fmla="*/ 695 w 798"/>
                <a:gd name="T53" fmla="*/ 563 h 597"/>
                <a:gd name="T54" fmla="*/ 663 w 798"/>
                <a:gd name="T55" fmla="*/ 538 h 597"/>
                <a:gd name="T56" fmla="*/ 615 w 798"/>
                <a:gd name="T57" fmla="*/ 546 h 597"/>
                <a:gd name="T58" fmla="*/ 681 w 798"/>
                <a:gd name="T59" fmla="*/ 389 h 597"/>
                <a:gd name="T60" fmla="*/ 657 w 798"/>
                <a:gd name="T61" fmla="*/ 373 h 597"/>
                <a:gd name="T62" fmla="*/ 635 w 798"/>
                <a:gd name="T63" fmla="*/ 356 h 597"/>
                <a:gd name="T64" fmla="*/ 607 w 798"/>
                <a:gd name="T65" fmla="*/ 352 h 597"/>
                <a:gd name="T66" fmla="*/ 576 w 798"/>
                <a:gd name="T67" fmla="*/ 333 h 597"/>
                <a:gd name="T68" fmla="*/ 539 w 798"/>
                <a:gd name="T69" fmla="*/ 335 h 597"/>
                <a:gd name="T70" fmla="*/ 509 w 798"/>
                <a:gd name="T71" fmla="*/ 350 h 597"/>
                <a:gd name="T72" fmla="*/ 473 w 798"/>
                <a:gd name="T73" fmla="*/ 352 h 597"/>
                <a:gd name="T74" fmla="*/ 436 w 798"/>
                <a:gd name="T75" fmla="*/ 324 h 597"/>
                <a:gd name="T76" fmla="*/ 407 w 798"/>
                <a:gd name="T77" fmla="*/ 349 h 597"/>
                <a:gd name="T78" fmla="*/ 367 w 798"/>
                <a:gd name="T79" fmla="*/ 369 h 597"/>
                <a:gd name="T80" fmla="*/ 320 w 798"/>
                <a:gd name="T81" fmla="*/ 368 h 597"/>
                <a:gd name="T82" fmla="*/ 283 w 798"/>
                <a:gd name="T83" fmla="*/ 376 h 597"/>
                <a:gd name="T84" fmla="*/ 241 w 798"/>
                <a:gd name="T85" fmla="*/ 370 h 597"/>
                <a:gd name="T86" fmla="*/ 209 w 798"/>
                <a:gd name="T87" fmla="*/ 355 h 597"/>
                <a:gd name="T88" fmla="*/ 216 w 798"/>
                <a:gd name="T89" fmla="*/ 326 h 597"/>
                <a:gd name="T90" fmla="*/ 207 w 798"/>
                <a:gd name="T91" fmla="*/ 297 h 597"/>
                <a:gd name="T92" fmla="*/ 187 w 798"/>
                <a:gd name="T93" fmla="*/ 287 h 597"/>
                <a:gd name="T94" fmla="*/ 150 w 798"/>
                <a:gd name="T95" fmla="*/ 282 h 597"/>
                <a:gd name="T96" fmla="*/ 153 w 798"/>
                <a:gd name="T97" fmla="*/ 251 h 597"/>
                <a:gd name="T98" fmla="*/ 133 w 798"/>
                <a:gd name="T99" fmla="*/ 224 h 597"/>
                <a:gd name="T100" fmla="*/ 80 w 798"/>
                <a:gd name="T101" fmla="*/ 200 h 597"/>
                <a:gd name="T102" fmla="*/ 45 w 798"/>
                <a:gd name="T103" fmla="*/ 184 h 597"/>
                <a:gd name="T104" fmla="*/ 17 w 798"/>
                <a:gd name="T105" fmla="*/ 165 h 597"/>
                <a:gd name="T106" fmla="*/ 9 w 798"/>
                <a:gd name="T107" fmla="*/ 135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8" h="597">
                  <a:moveTo>
                    <a:pt x="0" y="116"/>
                  </a:moveTo>
                  <a:lnTo>
                    <a:pt x="82" y="90"/>
                  </a:lnTo>
                  <a:lnTo>
                    <a:pt x="94" y="92"/>
                  </a:lnTo>
                  <a:lnTo>
                    <a:pt x="101" y="89"/>
                  </a:lnTo>
                  <a:lnTo>
                    <a:pt x="110" y="91"/>
                  </a:lnTo>
                  <a:lnTo>
                    <a:pt x="118" y="91"/>
                  </a:lnTo>
                  <a:lnTo>
                    <a:pt x="118" y="97"/>
                  </a:lnTo>
                  <a:lnTo>
                    <a:pt x="130" y="97"/>
                  </a:lnTo>
                  <a:lnTo>
                    <a:pt x="130" y="107"/>
                  </a:lnTo>
                  <a:lnTo>
                    <a:pt x="139" y="103"/>
                  </a:lnTo>
                  <a:lnTo>
                    <a:pt x="146" y="109"/>
                  </a:lnTo>
                  <a:lnTo>
                    <a:pt x="154" y="107"/>
                  </a:lnTo>
                  <a:lnTo>
                    <a:pt x="165" y="103"/>
                  </a:lnTo>
                  <a:lnTo>
                    <a:pt x="172" y="108"/>
                  </a:lnTo>
                  <a:lnTo>
                    <a:pt x="182" y="112"/>
                  </a:lnTo>
                  <a:lnTo>
                    <a:pt x="194" y="119"/>
                  </a:lnTo>
                  <a:lnTo>
                    <a:pt x="206" y="115"/>
                  </a:lnTo>
                  <a:lnTo>
                    <a:pt x="212" y="109"/>
                  </a:lnTo>
                  <a:lnTo>
                    <a:pt x="217" y="103"/>
                  </a:lnTo>
                  <a:lnTo>
                    <a:pt x="226" y="107"/>
                  </a:lnTo>
                  <a:lnTo>
                    <a:pt x="235" y="114"/>
                  </a:lnTo>
                  <a:lnTo>
                    <a:pt x="244" y="118"/>
                  </a:lnTo>
                  <a:lnTo>
                    <a:pt x="252" y="115"/>
                  </a:lnTo>
                  <a:lnTo>
                    <a:pt x="257" y="108"/>
                  </a:lnTo>
                  <a:lnTo>
                    <a:pt x="266" y="110"/>
                  </a:lnTo>
                  <a:lnTo>
                    <a:pt x="277" y="116"/>
                  </a:lnTo>
                  <a:lnTo>
                    <a:pt x="287" y="125"/>
                  </a:lnTo>
                  <a:lnTo>
                    <a:pt x="295" y="126"/>
                  </a:lnTo>
                  <a:lnTo>
                    <a:pt x="302" y="118"/>
                  </a:lnTo>
                  <a:lnTo>
                    <a:pt x="308" y="108"/>
                  </a:lnTo>
                  <a:lnTo>
                    <a:pt x="314" y="106"/>
                  </a:lnTo>
                  <a:lnTo>
                    <a:pt x="321" y="113"/>
                  </a:lnTo>
                  <a:lnTo>
                    <a:pt x="328" y="115"/>
                  </a:lnTo>
                  <a:lnTo>
                    <a:pt x="338" y="116"/>
                  </a:lnTo>
                  <a:lnTo>
                    <a:pt x="345" y="106"/>
                  </a:lnTo>
                  <a:lnTo>
                    <a:pt x="351" y="97"/>
                  </a:lnTo>
                  <a:lnTo>
                    <a:pt x="352" y="88"/>
                  </a:lnTo>
                  <a:lnTo>
                    <a:pt x="356" y="78"/>
                  </a:lnTo>
                  <a:lnTo>
                    <a:pt x="366" y="73"/>
                  </a:lnTo>
                  <a:lnTo>
                    <a:pt x="374" y="71"/>
                  </a:lnTo>
                  <a:lnTo>
                    <a:pt x="377" y="61"/>
                  </a:lnTo>
                  <a:lnTo>
                    <a:pt x="382" y="55"/>
                  </a:lnTo>
                  <a:lnTo>
                    <a:pt x="394" y="59"/>
                  </a:lnTo>
                  <a:lnTo>
                    <a:pt x="404" y="61"/>
                  </a:lnTo>
                  <a:lnTo>
                    <a:pt x="416" y="56"/>
                  </a:lnTo>
                  <a:lnTo>
                    <a:pt x="420" y="46"/>
                  </a:lnTo>
                  <a:lnTo>
                    <a:pt x="423" y="37"/>
                  </a:lnTo>
                  <a:lnTo>
                    <a:pt x="429" y="32"/>
                  </a:lnTo>
                  <a:lnTo>
                    <a:pt x="438" y="29"/>
                  </a:lnTo>
                  <a:lnTo>
                    <a:pt x="442" y="20"/>
                  </a:lnTo>
                  <a:lnTo>
                    <a:pt x="445" y="17"/>
                  </a:lnTo>
                  <a:lnTo>
                    <a:pt x="457" y="13"/>
                  </a:lnTo>
                  <a:lnTo>
                    <a:pt x="475" y="13"/>
                  </a:lnTo>
                  <a:lnTo>
                    <a:pt x="485" y="10"/>
                  </a:lnTo>
                  <a:lnTo>
                    <a:pt x="486" y="0"/>
                  </a:lnTo>
                  <a:lnTo>
                    <a:pt x="493" y="6"/>
                  </a:lnTo>
                  <a:lnTo>
                    <a:pt x="504" y="5"/>
                  </a:lnTo>
                  <a:lnTo>
                    <a:pt x="512" y="3"/>
                  </a:lnTo>
                  <a:lnTo>
                    <a:pt x="516" y="9"/>
                  </a:lnTo>
                  <a:lnTo>
                    <a:pt x="517" y="15"/>
                  </a:lnTo>
                  <a:lnTo>
                    <a:pt x="528" y="17"/>
                  </a:lnTo>
                  <a:lnTo>
                    <a:pt x="534" y="20"/>
                  </a:lnTo>
                  <a:lnTo>
                    <a:pt x="541" y="17"/>
                  </a:lnTo>
                  <a:lnTo>
                    <a:pt x="550" y="25"/>
                  </a:lnTo>
                  <a:lnTo>
                    <a:pt x="556" y="31"/>
                  </a:lnTo>
                  <a:lnTo>
                    <a:pt x="545" y="37"/>
                  </a:lnTo>
                  <a:lnTo>
                    <a:pt x="555" y="44"/>
                  </a:lnTo>
                  <a:lnTo>
                    <a:pt x="559" y="48"/>
                  </a:lnTo>
                  <a:lnTo>
                    <a:pt x="561" y="58"/>
                  </a:lnTo>
                  <a:lnTo>
                    <a:pt x="575" y="61"/>
                  </a:lnTo>
                  <a:lnTo>
                    <a:pt x="581" y="55"/>
                  </a:lnTo>
                  <a:lnTo>
                    <a:pt x="595" y="62"/>
                  </a:lnTo>
                  <a:lnTo>
                    <a:pt x="602" y="60"/>
                  </a:lnTo>
                  <a:lnTo>
                    <a:pt x="606" y="63"/>
                  </a:lnTo>
                  <a:lnTo>
                    <a:pt x="622" y="65"/>
                  </a:lnTo>
                  <a:lnTo>
                    <a:pt x="629" y="75"/>
                  </a:lnTo>
                  <a:lnTo>
                    <a:pt x="639" y="78"/>
                  </a:lnTo>
                  <a:lnTo>
                    <a:pt x="648" y="79"/>
                  </a:lnTo>
                  <a:lnTo>
                    <a:pt x="653" y="71"/>
                  </a:lnTo>
                  <a:lnTo>
                    <a:pt x="661" y="71"/>
                  </a:lnTo>
                  <a:lnTo>
                    <a:pt x="669" y="73"/>
                  </a:lnTo>
                  <a:lnTo>
                    <a:pt x="664" y="79"/>
                  </a:lnTo>
                  <a:lnTo>
                    <a:pt x="656" y="85"/>
                  </a:lnTo>
                  <a:lnTo>
                    <a:pt x="653" y="95"/>
                  </a:lnTo>
                  <a:lnTo>
                    <a:pt x="663" y="94"/>
                  </a:lnTo>
                  <a:lnTo>
                    <a:pt x="664" y="104"/>
                  </a:lnTo>
                  <a:lnTo>
                    <a:pt x="663" y="114"/>
                  </a:lnTo>
                  <a:lnTo>
                    <a:pt x="657" y="116"/>
                  </a:lnTo>
                  <a:lnTo>
                    <a:pt x="656" y="122"/>
                  </a:lnTo>
                  <a:lnTo>
                    <a:pt x="661" y="129"/>
                  </a:lnTo>
                  <a:lnTo>
                    <a:pt x="669" y="135"/>
                  </a:lnTo>
                  <a:lnTo>
                    <a:pt x="664" y="144"/>
                  </a:lnTo>
                  <a:lnTo>
                    <a:pt x="656" y="148"/>
                  </a:lnTo>
                  <a:lnTo>
                    <a:pt x="659" y="153"/>
                  </a:lnTo>
                  <a:lnTo>
                    <a:pt x="670" y="153"/>
                  </a:lnTo>
                  <a:lnTo>
                    <a:pt x="671" y="162"/>
                  </a:lnTo>
                  <a:lnTo>
                    <a:pt x="680" y="168"/>
                  </a:lnTo>
                  <a:lnTo>
                    <a:pt x="687" y="162"/>
                  </a:lnTo>
                  <a:lnTo>
                    <a:pt x="690" y="155"/>
                  </a:lnTo>
                  <a:lnTo>
                    <a:pt x="681" y="152"/>
                  </a:lnTo>
                  <a:lnTo>
                    <a:pt x="687" y="148"/>
                  </a:lnTo>
                  <a:lnTo>
                    <a:pt x="697" y="148"/>
                  </a:lnTo>
                  <a:lnTo>
                    <a:pt x="705" y="146"/>
                  </a:lnTo>
                  <a:lnTo>
                    <a:pt x="716" y="145"/>
                  </a:lnTo>
                  <a:lnTo>
                    <a:pt x="711" y="152"/>
                  </a:lnTo>
                  <a:lnTo>
                    <a:pt x="711" y="161"/>
                  </a:lnTo>
                  <a:lnTo>
                    <a:pt x="719" y="163"/>
                  </a:lnTo>
                  <a:lnTo>
                    <a:pt x="727" y="159"/>
                  </a:lnTo>
                  <a:lnTo>
                    <a:pt x="730" y="155"/>
                  </a:lnTo>
                  <a:lnTo>
                    <a:pt x="740" y="165"/>
                  </a:lnTo>
                  <a:lnTo>
                    <a:pt x="741" y="156"/>
                  </a:lnTo>
                  <a:lnTo>
                    <a:pt x="747" y="152"/>
                  </a:lnTo>
                  <a:lnTo>
                    <a:pt x="754" y="158"/>
                  </a:lnTo>
                  <a:lnTo>
                    <a:pt x="758" y="165"/>
                  </a:lnTo>
                  <a:lnTo>
                    <a:pt x="753" y="170"/>
                  </a:lnTo>
                  <a:lnTo>
                    <a:pt x="759" y="181"/>
                  </a:lnTo>
                  <a:lnTo>
                    <a:pt x="768" y="172"/>
                  </a:lnTo>
                  <a:lnTo>
                    <a:pt x="777" y="176"/>
                  </a:lnTo>
                  <a:lnTo>
                    <a:pt x="785" y="174"/>
                  </a:lnTo>
                  <a:lnTo>
                    <a:pt x="788" y="165"/>
                  </a:lnTo>
                  <a:lnTo>
                    <a:pt x="788" y="158"/>
                  </a:lnTo>
                  <a:lnTo>
                    <a:pt x="792" y="153"/>
                  </a:lnTo>
                  <a:lnTo>
                    <a:pt x="798" y="161"/>
                  </a:lnTo>
                  <a:lnTo>
                    <a:pt x="794" y="174"/>
                  </a:lnTo>
                  <a:lnTo>
                    <a:pt x="792" y="186"/>
                  </a:lnTo>
                  <a:lnTo>
                    <a:pt x="796" y="194"/>
                  </a:lnTo>
                  <a:lnTo>
                    <a:pt x="792" y="204"/>
                  </a:lnTo>
                  <a:lnTo>
                    <a:pt x="789" y="216"/>
                  </a:lnTo>
                  <a:lnTo>
                    <a:pt x="790" y="223"/>
                  </a:lnTo>
                  <a:lnTo>
                    <a:pt x="716" y="597"/>
                  </a:lnTo>
                  <a:lnTo>
                    <a:pt x="708" y="592"/>
                  </a:lnTo>
                  <a:lnTo>
                    <a:pt x="705" y="583"/>
                  </a:lnTo>
                  <a:lnTo>
                    <a:pt x="697" y="579"/>
                  </a:lnTo>
                  <a:lnTo>
                    <a:pt x="695" y="572"/>
                  </a:lnTo>
                  <a:lnTo>
                    <a:pt x="695" y="563"/>
                  </a:lnTo>
                  <a:lnTo>
                    <a:pt x="690" y="557"/>
                  </a:lnTo>
                  <a:lnTo>
                    <a:pt x="680" y="555"/>
                  </a:lnTo>
                  <a:lnTo>
                    <a:pt x="673" y="551"/>
                  </a:lnTo>
                  <a:lnTo>
                    <a:pt x="666" y="544"/>
                  </a:lnTo>
                  <a:lnTo>
                    <a:pt x="663" y="538"/>
                  </a:lnTo>
                  <a:lnTo>
                    <a:pt x="652" y="534"/>
                  </a:lnTo>
                  <a:lnTo>
                    <a:pt x="645" y="542"/>
                  </a:lnTo>
                  <a:lnTo>
                    <a:pt x="637" y="549"/>
                  </a:lnTo>
                  <a:lnTo>
                    <a:pt x="624" y="546"/>
                  </a:lnTo>
                  <a:lnTo>
                    <a:pt x="615" y="546"/>
                  </a:lnTo>
                  <a:lnTo>
                    <a:pt x="602" y="547"/>
                  </a:lnTo>
                  <a:lnTo>
                    <a:pt x="592" y="544"/>
                  </a:lnTo>
                  <a:lnTo>
                    <a:pt x="696" y="396"/>
                  </a:lnTo>
                  <a:lnTo>
                    <a:pt x="693" y="381"/>
                  </a:lnTo>
                  <a:lnTo>
                    <a:pt x="681" y="389"/>
                  </a:lnTo>
                  <a:lnTo>
                    <a:pt x="681" y="380"/>
                  </a:lnTo>
                  <a:lnTo>
                    <a:pt x="672" y="381"/>
                  </a:lnTo>
                  <a:lnTo>
                    <a:pt x="671" y="374"/>
                  </a:lnTo>
                  <a:lnTo>
                    <a:pt x="669" y="367"/>
                  </a:lnTo>
                  <a:lnTo>
                    <a:pt x="657" y="373"/>
                  </a:lnTo>
                  <a:lnTo>
                    <a:pt x="649" y="370"/>
                  </a:lnTo>
                  <a:lnTo>
                    <a:pt x="657" y="364"/>
                  </a:lnTo>
                  <a:lnTo>
                    <a:pt x="649" y="362"/>
                  </a:lnTo>
                  <a:lnTo>
                    <a:pt x="641" y="366"/>
                  </a:lnTo>
                  <a:lnTo>
                    <a:pt x="635" y="356"/>
                  </a:lnTo>
                  <a:lnTo>
                    <a:pt x="629" y="360"/>
                  </a:lnTo>
                  <a:lnTo>
                    <a:pt x="621" y="354"/>
                  </a:lnTo>
                  <a:lnTo>
                    <a:pt x="618" y="362"/>
                  </a:lnTo>
                  <a:lnTo>
                    <a:pt x="609" y="361"/>
                  </a:lnTo>
                  <a:lnTo>
                    <a:pt x="607" y="352"/>
                  </a:lnTo>
                  <a:lnTo>
                    <a:pt x="604" y="345"/>
                  </a:lnTo>
                  <a:lnTo>
                    <a:pt x="593" y="344"/>
                  </a:lnTo>
                  <a:lnTo>
                    <a:pt x="586" y="338"/>
                  </a:lnTo>
                  <a:lnTo>
                    <a:pt x="578" y="339"/>
                  </a:lnTo>
                  <a:lnTo>
                    <a:pt x="576" y="333"/>
                  </a:lnTo>
                  <a:lnTo>
                    <a:pt x="568" y="327"/>
                  </a:lnTo>
                  <a:lnTo>
                    <a:pt x="559" y="331"/>
                  </a:lnTo>
                  <a:lnTo>
                    <a:pt x="550" y="326"/>
                  </a:lnTo>
                  <a:lnTo>
                    <a:pt x="551" y="338"/>
                  </a:lnTo>
                  <a:lnTo>
                    <a:pt x="539" y="335"/>
                  </a:lnTo>
                  <a:lnTo>
                    <a:pt x="529" y="334"/>
                  </a:lnTo>
                  <a:lnTo>
                    <a:pt x="528" y="342"/>
                  </a:lnTo>
                  <a:lnTo>
                    <a:pt x="524" y="350"/>
                  </a:lnTo>
                  <a:lnTo>
                    <a:pt x="515" y="352"/>
                  </a:lnTo>
                  <a:lnTo>
                    <a:pt x="509" y="350"/>
                  </a:lnTo>
                  <a:lnTo>
                    <a:pt x="498" y="354"/>
                  </a:lnTo>
                  <a:lnTo>
                    <a:pt x="491" y="355"/>
                  </a:lnTo>
                  <a:lnTo>
                    <a:pt x="483" y="348"/>
                  </a:lnTo>
                  <a:lnTo>
                    <a:pt x="477" y="338"/>
                  </a:lnTo>
                  <a:lnTo>
                    <a:pt x="473" y="352"/>
                  </a:lnTo>
                  <a:lnTo>
                    <a:pt x="469" y="337"/>
                  </a:lnTo>
                  <a:lnTo>
                    <a:pt x="457" y="334"/>
                  </a:lnTo>
                  <a:lnTo>
                    <a:pt x="451" y="331"/>
                  </a:lnTo>
                  <a:lnTo>
                    <a:pt x="437" y="333"/>
                  </a:lnTo>
                  <a:lnTo>
                    <a:pt x="436" y="324"/>
                  </a:lnTo>
                  <a:lnTo>
                    <a:pt x="427" y="327"/>
                  </a:lnTo>
                  <a:lnTo>
                    <a:pt x="419" y="330"/>
                  </a:lnTo>
                  <a:lnTo>
                    <a:pt x="415" y="339"/>
                  </a:lnTo>
                  <a:lnTo>
                    <a:pt x="414" y="346"/>
                  </a:lnTo>
                  <a:lnTo>
                    <a:pt x="407" y="349"/>
                  </a:lnTo>
                  <a:lnTo>
                    <a:pt x="406" y="355"/>
                  </a:lnTo>
                  <a:lnTo>
                    <a:pt x="396" y="355"/>
                  </a:lnTo>
                  <a:lnTo>
                    <a:pt x="384" y="352"/>
                  </a:lnTo>
                  <a:lnTo>
                    <a:pt x="375" y="360"/>
                  </a:lnTo>
                  <a:lnTo>
                    <a:pt x="367" y="369"/>
                  </a:lnTo>
                  <a:lnTo>
                    <a:pt x="360" y="368"/>
                  </a:lnTo>
                  <a:lnTo>
                    <a:pt x="350" y="371"/>
                  </a:lnTo>
                  <a:lnTo>
                    <a:pt x="341" y="374"/>
                  </a:lnTo>
                  <a:lnTo>
                    <a:pt x="332" y="369"/>
                  </a:lnTo>
                  <a:lnTo>
                    <a:pt x="320" y="368"/>
                  </a:lnTo>
                  <a:lnTo>
                    <a:pt x="309" y="370"/>
                  </a:lnTo>
                  <a:lnTo>
                    <a:pt x="301" y="367"/>
                  </a:lnTo>
                  <a:lnTo>
                    <a:pt x="294" y="363"/>
                  </a:lnTo>
                  <a:lnTo>
                    <a:pt x="289" y="370"/>
                  </a:lnTo>
                  <a:lnTo>
                    <a:pt x="283" y="376"/>
                  </a:lnTo>
                  <a:lnTo>
                    <a:pt x="278" y="367"/>
                  </a:lnTo>
                  <a:lnTo>
                    <a:pt x="274" y="374"/>
                  </a:lnTo>
                  <a:lnTo>
                    <a:pt x="259" y="375"/>
                  </a:lnTo>
                  <a:lnTo>
                    <a:pt x="246" y="378"/>
                  </a:lnTo>
                  <a:lnTo>
                    <a:pt x="241" y="370"/>
                  </a:lnTo>
                  <a:lnTo>
                    <a:pt x="241" y="366"/>
                  </a:lnTo>
                  <a:lnTo>
                    <a:pt x="234" y="363"/>
                  </a:lnTo>
                  <a:lnTo>
                    <a:pt x="223" y="363"/>
                  </a:lnTo>
                  <a:lnTo>
                    <a:pt x="212" y="360"/>
                  </a:lnTo>
                  <a:lnTo>
                    <a:pt x="209" y="355"/>
                  </a:lnTo>
                  <a:lnTo>
                    <a:pt x="204" y="345"/>
                  </a:lnTo>
                  <a:lnTo>
                    <a:pt x="211" y="343"/>
                  </a:lnTo>
                  <a:lnTo>
                    <a:pt x="214" y="337"/>
                  </a:lnTo>
                  <a:lnTo>
                    <a:pt x="222" y="332"/>
                  </a:lnTo>
                  <a:lnTo>
                    <a:pt x="216" y="326"/>
                  </a:lnTo>
                  <a:lnTo>
                    <a:pt x="220" y="322"/>
                  </a:lnTo>
                  <a:lnTo>
                    <a:pt x="213" y="315"/>
                  </a:lnTo>
                  <a:lnTo>
                    <a:pt x="214" y="307"/>
                  </a:lnTo>
                  <a:lnTo>
                    <a:pt x="214" y="300"/>
                  </a:lnTo>
                  <a:lnTo>
                    <a:pt x="207" y="297"/>
                  </a:lnTo>
                  <a:lnTo>
                    <a:pt x="207" y="290"/>
                  </a:lnTo>
                  <a:lnTo>
                    <a:pt x="199" y="291"/>
                  </a:lnTo>
                  <a:lnTo>
                    <a:pt x="198" y="283"/>
                  </a:lnTo>
                  <a:lnTo>
                    <a:pt x="194" y="290"/>
                  </a:lnTo>
                  <a:lnTo>
                    <a:pt x="187" y="287"/>
                  </a:lnTo>
                  <a:lnTo>
                    <a:pt x="181" y="291"/>
                  </a:lnTo>
                  <a:lnTo>
                    <a:pt x="170" y="291"/>
                  </a:lnTo>
                  <a:lnTo>
                    <a:pt x="163" y="289"/>
                  </a:lnTo>
                  <a:lnTo>
                    <a:pt x="157" y="282"/>
                  </a:lnTo>
                  <a:lnTo>
                    <a:pt x="150" y="282"/>
                  </a:lnTo>
                  <a:lnTo>
                    <a:pt x="144" y="275"/>
                  </a:lnTo>
                  <a:lnTo>
                    <a:pt x="146" y="266"/>
                  </a:lnTo>
                  <a:lnTo>
                    <a:pt x="155" y="260"/>
                  </a:lnTo>
                  <a:lnTo>
                    <a:pt x="147" y="258"/>
                  </a:lnTo>
                  <a:lnTo>
                    <a:pt x="153" y="251"/>
                  </a:lnTo>
                  <a:lnTo>
                    <a:pt x="145" y="246"/>
                  </a:lnTo>
                  <a:lnTo>
                    <a:pt x="139" y="241"/>
                  </a:lnTo>
                  <a:lnTo>
                    <a:pt x="141" y="236"/>
                  </a:lnTo>
                  <a:lnTo>
                    <a:pt x="134" y="231"/>
                  </a:lnTo>
                  <a:lnTo>
                    <a:pt x="133" y="224"/>
                  </a:lnTo>
                  <a:lnTo>
                    <a:pt x="124" y="218"/>
                  </a:lnTo>
                  <a:lnTo>
                    <a:pt x="119" y="215"/>
                  </a:lnTo>
                  <a:lnTo>
                    <a:pt x="91" y="212"/>
                  </a:lnTo>
                  <a:lnTo>
                    <a:pt x="85" y="209"/>
                  </a:lnTo>
                  <a:lnTo>
                    <a:pt x="80" y="200"/>
                  </a:lnTo>
                  <a:lnTo>
                    <a:pt x="76" y="193"/>
                  </a:lnTo>
                  <a:lnTo>
                    <a:pt x="69" y="198"/>
                  </a:lnTo>
                  <a:lnTo>
                    <a:pt x="62" y="195"/>
                  </a:lnTo>
                  <a:lnTo>
                    <a:pt x="58" y="188"/>
                  </a:lnTo>
                  <a:lnTo>
                    <a:pt x="45" y="184"/>
                  </a:lnTo>
                  <a:lnTo>
                    <a:pt x="36" y="181"/>
                  </a:lnTo>
                  <a:lnTo>
                    <a:pt x="27" y="184"/>
                  </a:lnTo>
                  <a:lnTo>
                    <a:pt x="20" y="178"/>
                  </a:lnTo>
                  <a:lnTo>
                    <a:pt x="21" y="170"/>
                  </a:lnTo>
                  <a:lnTo>
                    <a:pt x="17" y="165"/>
                  </a:lnTo>
                  <a:lnTo>
                    <a:pt x="22" y="158"/>
                  </a:lnTo>
                  <a:lnTo>
                    <a:pt x="17" y="151"/>
                  </a:lnTo>
                  <a:lnTo>
                    <a:pt x="11" y="148"/>
                  </a:lnTo>
                  <a:lnTo>
                    <a:pt x="0" y="142"/>
                  </a:lnTo>
                  <a:lnTo>
                    <a:pt x="9" y="135"/>
                  </a:lnTo>
                  <a:lnTo>
                    <a:pt x="8" y="128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DCD8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77" name="Freeform 73">
              <a:extLst>
                <a:ext uri="{FF2B5EF4-FFF2-40B4-BE49-F238E27FC236}">
                  <a16:creationId xmlns:a16="http://schemas.microsoft.com/office/drawing/2014/main" id="{84017CEB-3EC0-4BBF-B26E-2FDBA876F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3" y="2661"/>
              <a:ext cx="798" cy="597"/>
            </a:xfrm>
            <a:custGeom>
              <a:avLst/>
              <a:gdLst>
                <a:gd name="T0" fmla="*/ 110 w 798"/>
                <a:gd name="T1" fmla="*/ 91 h 597"/>
                <a:gd name="T2" fmla="*/ 139 w 798"/>
                <a:gd name="T3" fmla="*/ 103 h 597"/>
                <a:gd name="T4" fmla="*/ 182 w 798"/>
                <a:gd name="T5" fmla="*/ 112 h 597"/>
                <a:gd name="T6" fmla="*/ 226 w 798"/>
                <a:gd name="T7" fmla="*/ 107 h 597"/>
                <a:gd name="T8" fmla="*/ 266 w 798"/>
                <a:gd name="T9" fmla="*/ 110 h 597"/>
                <a:gd name="T10" fmla="*/ 308 w 798"/>
                <a:gd name="T11" fmla="*/ 108 h 597"/>
                <a:gd name="T12" fmla="*/ 345 w 798"/>
                <a:gd name="T13" fmla="*/ 106 h 597"/>
                <a:gd name="T14" fmla="*/ 374 w 798"/>
                <a:gd name="T15" fmla="*/ 71 h 597"/>
                <a:gd name="T16" fmla="*/ 416 w 798"/>
                <a:gd name="T17" fmla="*/ 56 h 597"/>
                <a:gd name="T18" fmla="*/ 442 w 798"/>
                <a:gd name="T19" fmla="*/ 20 h 597"/>
                <a:gd name="T20" fmla="*/ 486 w 798"/>
                <a:gd name="T21" fmla="*/ 0 h 597"/>
                <a:gd name="T22" fmla="*/ 517 w 798"/>
                <a:gd name="T23" fmla="*/ 15 h 597"/>
                <a:gd name="T24" fmla="*/ 556 w 798"/>
                <a:gd name="T25" fmla="*/ 31 h 597"/>
                <a:gd name="T26" fmla="*/ 575 w 798"/>
                <a:gd name="T27" fmla="*/ 61 h 597"/>
                <a:gd name="T28" fmla="*/ 622 w 798"/>
                <a:gd name="T29" fmla="*/ 65 h 597"/>
                <a:gd name="T30" fmla="*/ 661 w 798"/>
                <a:gd name="T31" fmla="*/ 71 h 597"/>
                <a:gd name="T32" fmla="*/ 663 w 798"/>
                <a:gd name="T33" fmla="*/ 94 h 597"/>
                <a:gd name="T34" fmla="*/ 661 w 798"/>
                <a:gd name="T35" fmla="*/ 129 h 597"/>
                <a:gd name="T36" fmla="*/ 670 w 798"/>
                <a:gd name="T37" fmla="*/ 153 h 597"/>
                <a:gd name="T38" fmla="*/ 681 w 798"/>
                <a:gd name="T39" fmla="*/ 152 h 597"/>
                <a:gd name="T40" fmla="*/ 711 w 798"/>
                <a:gd name="T41" fmla="*/ 152 h 597"/>
                <a:gd name="T42" fmla="*/ 740 w 798"/>
                <a:gd name="T43" fmla="*/ 165 h 597"/>
                <a:gd name="T44" fmla="*/ 753 w 798"/>
                <a:gd name="T45" fmla="*/ 170 h 597"/>
                <a:gd name="T46" fmla="*/ 788 w 798"/>
                <a:gd name="T47" fmla="*/ 165 h 597"/>
                <a:gd name="T48" fmla="*/ 792 w 798"/>
                <a:gd name="T49" fmla="*/ 186 h 597"/>
                <a:gd name="T50" fmla="*/ 716 w 798"/>
                <a:gd name="T51" fmla="*/ 597 h 597"/>
                <a:gd name="T52" fmla="*/ 695 w 798"/>
                <a:gd name="T53" fmla="*/ 563 h 597"/>
                <a:gd name="T54" fmla="*/ 663 w 798"/>
                <a:gd name="T55" fmla="*/ 538 h 597"/>
                <a:gd name="T56" fmla="*/ 615 w 798"/>
                <a:gd name="T57" fmla="*/ 546 h 597"/>
                <a:gd name="T58" fmla="*/ 681 w 798"/>
                <a:gd name="T59" fmla="*/ 389 h 597"/>
                <a:gd name="T60" fmla="*/ 657 w 798"/>
                <a:gd name="T61" fmla="*/ 373 h 597"/>
                <a:gd name="T62" fmla="*/ 635 w 798"/>
                <a:gd name="T63" fmla="*/ 356 h 597"/>
                <a:gd name="T64" fmla="*/ 607 w 798"/>
                <a:gd name="T65" fmla="*/ 352 h 597"/>
                <a:gd name="T66" fmla="*/ 576 w 798"/>
                <a:gd name="T67" fmla="*/ 333 h 597"/>
                <a:gd name="T68" fmla="*/ 539 w 798"/>
                <a:gd name="T69" fmla="*/ 335 h 597"/>
                <a:gd name="T70" fmla="*/ 509 w 798"/>
                <a:gd name="T71" fmla="*/ 350 h 597"/>
                <a:gd name="T72" fmla="*/ 473 w 798"/>
                <a:gd name="T73" fmla="*/ 352 h 597"/>
                <a:gd name="T74" fmla="*/ 436 w 798"/>
                <a:gd name="T75" fmla="*/ 324 h 597"/>
                <a:gd name="T76" fmla="*/ 407 w 798"/>
                <a:gd name="T77" fmla="*/ 349 h 597"/>
                <a:gd name="T78" fmla="*/ 367 w 798"/>
                <a:gd name="T79" fmla="*/ 369 h 597"/>
                <a:gd name="T80" fmla="*/ 320 w 798"/>
                <a:gd name="T81" fmla="*/ 368 h 597"/>
                <a:gd name="T82" fmla="*/ 283 w 798"/>
                <a:gd name="T83" fmla="*/ 376 h 597"/>
                <a:gd name="T84" fmla="*/ 241 w 798"/>
                <a:gd name="T85" fmla="*/ 370 h 597"/>
                <a:gd name="T86" fmla="*/ 209 w 798"/>
                <a:gd name="T87" fmla="*/ 355 h 597"/>
                <a:gd name="T88" fmla="*/ 216 w 798"/>
                <a:gd name="T89" fmla="*/ 326 h 597"/>
                <a:gd name="T90" fmla="*/ 207 w 798"/>
                <a:gd name="T91" fmla="*/ 297 h 597"/>
                <a:gd name="T92" fmla="*/ 187 w 798"/>
                <a:gd name="T93" fmla="*/ 287 h 597"/>
                <a:gd name="T94" fmla="*/ 150 w 798"/>
                <a:gd name="T95" fmla="*/ 282 h 597"/>
                <a:gd name="T96" fmla="*/ 153 w 798"/>
                <a:gd name="T97" fmla="*/ 251 h 597"/>
                <a:gd name="T98" fmla="*/ 133 w 798"/>
                <a:gd name="T99" fmla="*/ 224 h 597"/>
                <a:gd name="T100" fmla="*/ 80 w 798"/>
                <a:gd name="T101" fmla="*/ 200 h 597"/>
                <a:gd name="T102" fmla="*/ 45 w 798"/>
                <a:gd name="T103" fmla="*/ 184 h 597"/>
                <a:gd name="T104" fmla="*/ 17 w 798"/>
                <a:gd name="T105" fmla="*/ 165 h 597"/>
                <a:gd name="T106" fmla="*/ 9 w 798"/>
                <a:gd name="T107" fmla="*/ 135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8" h="597">
                  <a:moveTo>
                    <a:pt x="0" y="116"/>
                  </a:moveTo>
                  <a:lnTo>
                    <a:pt x="82" y="90"/>
                  </a:lnTo>
                  <a:lnTo>
                    <a:pt x="94" y="92"/>
                  </a:lnTo>
                  <a:lnTo>
                    <a:pt x="101" y="89"/>
                  </a:lnTo>
                  <a:lnTo>
                    <a:pt x="110" y="91"/>
                  </a:lnTo>
                  <a:lnTo>
                    <a:pt x="118" y="91"/>
                  </a:lnTo>
                  <a:lnTo>
                    <a:pt x="118" y="97"/>
                  </a:lnTo>
                  <a:lnTo>
                    <a:pt x="130" y="97"/>
                  </a:lnTo>
                  <a:lnTo>
                    <a:pt x="130" y="107"/>
                  </a:lnTo>
                  <a:lnTo>
                    <a:pt x="139" y="103"/>
                  </a:lnTo>
                  <a:lnTo>
                    <a:pt x="146" y="109"/>
                  </a:lnTo>
                  <a:lnTo>
                    <a:pt x="154" y="107"/>
                  </a:lnTo>
                  <a:lnTo>
                    <a:pt x="165" y="103"/>
                  </a:lnTo>
                  <a:lnTo>
                    <a:pt x="172" y="108"/>
                  </a:lnTo>
                  <a:lnTo>
                    <a:pt x="182" y="112"/>
                  </a:lnTo>
                  <a:lnTo>
                    <a:pt x="194" y="119"/>
                  </a:lnTo>
                  <a:lnTo>
                    <a:pt x="206" y="115"/>
                  </a:lnTo>
                  <a:lnTo>
                    <a:pt x="212" y="109"/>
                  </a:lnTo>
                  <a:lnTo>
                    <a:pt x="217" y="103"/>
                  </a:lnTo>
                  <a:lnTo>
                    <a:pt x="226" y="107"/>
                  </a:lnTo>
                  <a:lnTo>
                    <a:pt x="235" y="114"/>
                  </a:lnTo>
                  <a:lnTo>
                    <a:pt x="244" y="118"/>
                  </a:lnTo>
                  <a:lnTo>
                    <a:pt x="252" y="115"/>
                  </a:lnTo>
                  <a:lnTo>
                    <a:pt x="257" y="108"/>
                  </a:lnTo>
                  <a:lnTo>
                    <a:pt x="266" y="110"/>
                  </a:lnTo>
                  <a:lnTo>
                    <a:pt x="277" y="116"/>
                  </a:lnTo>
                  <a:lnTo>
                    <a:pt x="287" y="125"/>
                  </a:lnTo>
                  <a:lnTo>
                    <a:pt x="295" y="126"/>
                  </a:lnTo>
                  <a:lnTo>
                    <a:pt x="302" y="118"/>
                  </a:lnTo>
                  <a:lnTo>
                    <a:pt x="308" y="108"/>
                  </a:lnTo>
                  <a:lnTo>
                    <a:pt x="314" y="106"/>
                  </a:lnTo>
                  <a:lnTo>
                    <a:pt x="321" y="113"/>
                  </a:lnTo>
                  <a:lnTo>
                    <a:pt x="328" y="115"/>
                  </a:lnTo>
                  <a:lnTo>
                    <a:pt x="338" y="116"/>
                  </a:lnTo>
                  <a:lnTo>
                    <a:pt x="345" y="106"/>
                  </a:lnTo>
                  <a:lnTo>
                    <a:pt x="351" y="97"/>
                  </a:lnTo>
                  <a:lnTo>
                    <a:pt x="352" y="88"/>
                  </a:lnTo>
                  <a:lnTo>
                    <a:pt x="356" y="78"/>
                  </a:lnTo>
                  <a:lnTo>
                    <a:pt x="366" y="73"/>
                  </a:lnTo>
                  <a:lnTo>
                    <a:pt x="374" y="71"/>
                  </a:lnTo>
                  <a:lnTo>
                    <a:pt x="377" y="61"/>
                  </a:lnTo>
                  <a:lnTo>
                    <a:pt x="382" y="55"/>
                  </a:lnTo>
                  <a:lnTo>
                    <a:pt x="394" y="59"/>
                  </a:lnTo>
                  <a:lnTo>
                    <a:pt x="404" y="61"/>
                  </a:lnTo>
                  <a:lnTo>
                    <a:pt x="416" y="56"/>
                  </a:lnTo>
                  <a:lnTo>
                    <a:pt x="420" y="46"/>
                  </a:lnTo>
                  <a:lnTo>
                    <a:pt x="423" y="37"/>
                  </a:lnTo>
                  <a:lnTo>
                    <a:pt x="429" y="32"/>
                  </a:lnTo>
                  <a:lnTo>
                    <a:pt x="438" y="29"/>
                  </a:lnTo>
                  <a:lnTo>
                    <a:pt x="442" y="20"/>
                  </a:lnTo>
                  <a:lnTo>
                    <a:pt x="445" y="17"/>
                  </a:lnTo>
                  <a:lnTo>
                    <a:pt x="457" y="13"/>
                  </a:lnTo>
                  <a:lnTo>
                    <a:pt x="475" y="13"/>
                  </a:lnTo>
                  <a:lnTo>
                    <a:pt x="485" y="10"/>
                  </a:lnTo>
                  <a:lnTo>
                    <a:pt x="486" y="0"/>
                  </a:lnTo>
                  <a:lnTo>
                    <a:pt x="493" y="6"/>
                  </a:lnTo>
                  <a:lnTo>
                    <a:pt x="504" y="5"/>
                  </a:lnTo>
                  <a:lnTo>
                    <a:pt x="512" y="3"/>
                  </a:lnTo>
                  <a:lnTo>
                    <a:pt x="516" y="9"/>
                  </a:lnTo>
                  <a:lnTo>
                    <a:pt x="517" y="15"/>
                  </a:lnTo>
                  <a:lnTo>
                    <a:pt x="528" y="17"/>
                  </a:lnTo>
                  <a:lnTo>
                    <a:pt x="534" y="20"/>
                  </a:lnTo>
                  <a:lnTo>
                    <a:pt x="541" y="17"/>
                  </a:lnTo>
                  <a:lnTo>
                    <a:pt x="550" y="25"/>
                  </a:lnTo>
                  <a:lnTo>
                    <a:pt x="556" y="31"/>
                  </a:lnTo>
                  <a:lnTo>
                    <a:pt x="545" y="37"/>
                  </a:lnTo>
                  <a:lnTo>
                    <a:pt x="555" y="44"/>
                  </a:lnTo>
                  <a:lnTo>
                    <a:pt x="559" y="48"/>
                  </a:lnTo>
                  <a:lnTo>
                    <a:pt x="561" y="58"/>
                  </a:lnTo>
                  <a:lnTo>
                    <a:pt x="575" y="61"/>
                  </a:lnTo>
                  <a:lnTo>
                    <a:pt x="581" y="55"/>
                  </a:lnTo>
                  <a:lnTo>
                    <a:pt x="595" y="62"/>
                  </a:lnTo>
                  <a:lnTo>
                    <a:pt x="602" y="60"/>
                  </a:lnTo>
                  <a:lnTo>
                    <a:pt x="606" y="63"/>
                  </a:lnTo>
                  <a:lnTo>
                    <a:pt x="622" y="65"/>
                  </a:lnTo>
                  <a:lnTo>
                    <a:pt x="629" y="75"/>
                  </a:lnTo>
                  <a:lnTo>
                    <a:pt x="639" y="78"/>
                  </a:lnTo>
                  <a:lnTo>
                    <a:pt x="648" y="79"/>
                  </a:lnTo>
                  <a:lnTo>
                    <a:pt x="653" y="71"/>
                  </a:lnTo>
                  <a:lnTo>
                    <a:pt x="661" y="71"/>
                  </a:lnTo>
                  <a:lnTo>
                    <a:pt x="669" y="73"/>
                  </a:lnTo>
                  <a:lnTo>
                    <a:pt x="664" y="79"/>
                  </a:lnTo>
                  <a:lnTo>
                    <a:pt x="656" y="85"/>
                  </a:lnTo>
                  <a:lnTo>
                    <a:pt x="653" y="95"/>
                  </a:lnTo>
                  <a:lnTo>
                    <a:pt x="663" y="94"/>
                  </a:lnTo>
                  <a:lnTo>
                    <a:pt x="664" y="104"/>
                  </a:lnTo>
                  <a:lnTo>
                    <a:pt x="663" y="114"/>
                  </a:lnTo>
                  <a:lnTo>
                    <a:pt x="657" y="116"/>
                  </a:lnTo>
                  <a:lnTo>
                    <a:pt x="656" y="122"/>
                  </a:lnTo>
                  <a:lnTo>
                    <a:pt x="661" y="129"/>
                  </a:lnTo>
                  <a:lnTo>
                    <a:pt x="669" y="135"/>
                  </a:lnTo>
                  <a:lnTo>
                    <a:pt x="664" y="144"/>
                  </a:lnTo>
                  <a:lnTo>
                    <a:pt x="656" y="148"/>
                  </a:lnTo>
                  <a:lnTo>
                    <a:pt x="659" y="153"/>
                  </a:lnTo>
                  <a:lnTo>
                    <a:pt x="670" y="153"/>
                  </a:lnTo>
                  <a:lnTo>
                    <a:pt x="671" y="162"/>
                  </a:lnTo>
                  <a:lnTo>
                    <a:pt x="680" y="168"/>
                  </a:lnTo>
                  <a:lnTo>
                    <a:pt x="687" y="162"/>
                  </a:lnTo>
                  <a:lnTo>
                    <a:pt x="690" y="155"/>
                  </a:lnTo>
                  <a:lnTo>
                    <a:pt x="681" y="152"/>
                  </a:lnTo>
                  <a:lnTo>
                    <a:pt x="687" y="148"/>
                  </a:lnTo>
                  <a:lnTo>
                    <a:pt x="697" y="148"/>
                  </a:lnTo>
                  <a:lnTo>
                    <a:pt x="705" y="146"/>
                  </a:lnTo>
                  <a:lnTo>
                    <a:pt x="716" y="145"/>
                  </a:lnTo>
                  <a:lnTo>
                    <a:pt x="711" y="152"/>
                  </a:lnTo>
                  <a:lnTo>
                    <a:pt x="711" y="161"/>
                  </a:lnTo>
                  <a:lnTo>
                    <a:pt x="719" y="163"/>
                  </a:lnTo>
                  <a:lnTo>
                    <a:pt x="727" y="159"/>
                  </a:lnTo>
                  <a:lnTo>
                    <a:pt x="730" y="155"/>
                  </a:lnTo>
                  <a:lnTo>
                    <a:pt x="740" y="165"/>
                  </a:lnTo>
                  <a:lnTo>
                    <a:pt x="741" y="156"/>
                  </a:lnTo>
                  <a:lnTo>
                    <a:pt x="747" y="152"/>
                  </a:lnTo>
                  <a:lnTo>
                    <a:pt x="754" y="158"/>
                  </a:lnTo>
                  <a:lnTo>
                    <a:pt x="758" y="165"/>
                  </a:lnTo>
                  <a:lnTo>
                    <a:pt x="753" y="170"/>
                  </a:lnTo>
                  <a:lnTo>
                    <a:pt x="759" y="181"/>
                  </a:lnTo>
                  <a:lnTo>
                    <a:pt x="768" y="172"/>
                  </a:lnTo>
                  <a:lnTo>
                    <a:pt x="777" y="176"/>
                  </a:lnTo>
                  <a:lnTo>
                    <a:pt x="785" y="174"/>
                  </a:lnTo>
                  <a:lnTo>
                    <a:pt x="788" y="165"/>
                  </a:lnTo>
                  <a:lnTo>
                    <a:pt x="788" y="158"/>
                  </a:lnTo>
                  <a:lnTo>
                    <a:pt x="792" y="153"/>
                  </a:lnTo>
                  <a:lnTo>
                    <a:pt x="798" y="161"/>
                  </a:lnTo>
                  <a:lnTo>
                    <a:pt x="794" y="174"/>
                  </a:lnTo>
                  <a:lnTo>
                    <a:pt x="792" y="186"/>
                  </a:lnTo>
                  <a:lnTo>
                    <a:pt x="796" y="194"/>
                  </a:lnTo>
                  <a:lnTo>
                    <a:pt x="792" y="204"/>
                  </a:lnTo>
                  <a:lnTo>
                    <a:pt x="789" y="216"/>
                  </a:lnTo>
                  <a:lnTo>
                    <a:pt x="790" y="223"/>
                  </a:lnTo>
                  <a:lnTo>
                    <a:pt x="716" y="597"/>
                  </a:lnTo>
                  <a:lnTo>
                    <a:pt x="708" y="592"/>
                  </a:lnTo>
                  <a:lnTo>
                    <a:pt x="705" y="583"/>
                  </a:lnTo>
                  <a:lnTo>
                    <a:pt x="697" y="579"/>
                  </a:lnTo>
                  <a:lnTo>
                    <a:pt x="695" y="572"/>
                  </a:lnTo>
                  <a:lnTo>
                    <a:pt x="695" y="563"/>
                  </a:lnTo>
                  <a:lnTo>
                    <a:pt x="690" y="557"/>
                  </a:lnTo>
                  <a:lnTo>
                    <a:pt x="680" y="555"/>
                  </a:lnTo>
                  <a:lnTo>
                    <a:pt x="673" y="551"/>
                  </a:lnTo>
                  <a:lnTo>
                    <a:pt x="666" y="544"/>
                  </a:lnTo>
                  <a:lnTo>
                    <a:pt x="663" y="538"/>
                  </a:lnTo>
                  <a:lnTo>
                    <a:pt x="652" y="534"/>
                  </a:lnTo>
                  <a:lnTo>
                    <a:pt x="645" y="542"/>
                  </a:lnTo>
                  <a:lnTo>
                    <a:pt x="637" y="549"/>
                  </a:lnTo>
                  <a:lnTo>
                    <a:pt x="624" y="546"/>
                  </a:lnTo>
                  <a:lnTo>
                    <a:pt x="615" y="546"/>
                  </a:lnTo>
                  <a:lnTo>
                    <a:pt x="602" y="547"/>
                  </a:lnTo>
                  <a:lnTo>
                    <a:pt x="592" y="544"/>
                  </a:lnTo>
                  <a:lnTo>
                    <a:pt x="696" y="396"/>
                  </a:lnTo>
                  <a:lnTo>
                    <a:pt x="693" y="381"/>
                  </a:lnTo>
                  <a:lnTo>
                    <a:pt x="681" y="389"/>
                  </a:lnTo>
                  <a:lnTo>
                    <a:pt x="681" y="380"/>
                  </a:lnTo>
                  <a:lnTo>
                    <a:pt x="672" y="381"/>
                  </a:lnTo>
                  <a:lnTo>
                    <a:pt x="671" y="374"/>
                  </a:lnTo>
                  <a:lnTo>
                    <a:pt x="669" y="367"/>
                  </a:lnTo>
                  <a:lnTo>
                    <a:pt x="657" y="373"/>
                  </a:lnTo>
                  <a:lnTo>
                    <a:pt x="649" y="370"/>
                  </a:lnTo>
                  <a:lnTo>
                    <a:pt x="657" y="364"/>
                  </a:lnTo>
                  <a:lnTo>
                    <a:pt x="649" y="362"/>
                  </a:lnTo>
                  <a:lnTo>
                    <a:pt x="641" y="366"/>
                  </a:lnTo>
                  <a:lnTo>
                    <a:pt x="635" y="356"/>
                  </a:lnTo>
                  <a:lnTo>
                    <a:pt x="629" y="360"/>
                  </a:lnTo>
                  <a:lnTo>
                    <a:pt x="621" y="354"/>
                  </a:lnTo>
                  <a:lnTo>
                    <a:pt x="618" y="362"/>
                  </a:lnTo>
                  <a:lnTo>
                    <a:pt x="609" y="361"/>
                  </a:lnTo>
                  <a:lnTo>
                    <a:pt x="607" y="352"/>
                  </a:lnTo>
                  <a:lnTo>
                    <a:pt x="604" y="345"/>
                  </a:lnTo>
                  <a:lnTo>
                    <a:pt x="593" y="344"/>
                  </a:lnTo>
                  <a:lnTo>
                    <a:pt x="586" y="338"/>
                  </a:lnTo>
                  <a:lnTo>
                    <a:pt x="578" y="339"/>
                  </a:lnTo>
                  <a:lnTo>
                    <a:pt x="576" y="333"/>
                  </a:lnTo>
                  <a:lnTo>
                    <a:pt x="568" y="327"/>
                  </a:lnTo>
                  <a:lnTo>
                    <a:pt x="559" y="331"/>
                  </a:lnTo>
                  <a:lnTo>
                    <a:pt x="550" y="326"/>
                  </a:lnTo>
                  <a:lnTo>
                    <a:pt x="551" y="338"/>
                  </a:lnTo>
                  <a:lnTo>
                    <a:pt x="539" y="335"/>
                  </a:lnTo>
                  <a:lnTo>
                    <a:pt x="529" y="334"/>
                  </a:lnTo>
                  <a:lnTo>
                    <a:pt x="528" y="342"/>
                  </a:lnTo>
                  <a:lnTo>
                    <a:pt x="524" y="350"/>
                  </a:lnTo>
                  <a:lnTo>
                    <a:pt x="515" y="352"/>
                  </a:lnTo>
                  <a:lnTo>
                    <a:pt x="509" y="350"/>
                  </a:lnTo>
                  <a:lnTo>
                    <a:pt x="498" y="354"/>
                  </a:lnTo>
                  <a:lnTo>
                    <a:pt x="491" y="355"/>
                  </a:lnTo>
                  <a:lnTo>
                    <a:pt x="483" y="348"/>
                  </a:lnTo>
                  <a:lnTo>
                    <a:pt x="477" y="338"/>
                  </a:lnTo>
                  <a:lnTo>
                    <a:pt x="473" y="352"/>
                  </a:lnTo>
                  <a:lnTo>
                    <a:pt x="469" y="337"/>
                  </a:lnTo>
                  <a:lnTo>
                    <a:pt x="457" y="334"/>
                  </a:lnTo>
                  <a:lnTo>
                    <a:pt x="451" y="331"/>
                  </a:lnTo>
                  <a:lnTo>
                    <a:pt x="437" y="333"/>
                  </a:lnTo>
                  <a:lnTo>
                    <a:pt x="436" y="324"/>
                  </a:lnTo>
                  <a:lnTo>
                    <a:pt x="427" y="327"/>
                  </a:lnTo>
                  <a:lnTo>
                    <a:pt x="419" y="330"/>
                  </a:lnTo>
                  <a:lnTo>
                    <a:pt x="415" y="339"/>
                  </a:lnTo>
                  <a:lnTo>
                    <a:pt x="414" y="346"/>
                  </a:lnTo>
                  <a:lnTo>
                    <a:pt x="407" y="349"/>
                  </a:lnTo>
                  <a:lnTo>
                    <a:pt x="406" y="355"/>
                  </a:lnTo>
                  <a:lnTo>
                    <a:pt x="396" y="355"/>
                  </a:lnTo>
                  <a:lnTo>
                    <a:pt x="384" y="352"/>
                  </a:lnTo>
                  <a:lnTo>
                    <a:pt x="375" y="360"/>
                  </a:lnTo>
                  <a:lnTo>
                    <a:pt x="367" y="369"/>
                  </a:lnTo>
                  <a:lnTo>
                    <a:pt x="360" y="368"/>
                  </a:lnTo>
                  <a:lnTo>
                    <a:pt x="350" y="371"/>
                  </a:lnTo>
                  <a:lnTo>
                    <a:pt x="341" y="374"/>
                  </a:lnTo>
                  <a:lnTo>
                    <a:pt x="332" y="369"/>
                  </a:lnTo>
                  <a:lnTo>
                    <a:pt x="320" y="368"/>
                  </a:lnTo>
                  <a:lnTo>
                    <a:pt x="309" y="370"/>
                  </a:lnTo>
                  <a:lnTo>
                    <a:pt x="301" y="367"/>
                  </a:lnTo>
                  <a:lnTo>
                    <a:pt x="294" y="363"/>
                  </a:lnTo>
                  <a:lnTo>
                    <a:pt x="289" y="370"/>
                  </a:lnTo>
                  <a:lnTo>
                    <a:pt x="283" y="376"/>
                  </a:lnTo>
                  <a:lnTo>
                    <a:pt x="278" y="367"/>
                  </a:lnTo>
                  <a:lnTo>
                    <a:pt x="274" y="374"/>
                  </a:lnTo>
                  <a:lnTo>
                    <a:pt x="259" y="375"/>
                  </a:lnTo>
                  <a:lnTo>
                    <a:pt x="246" y="378"/>
                  </a:lnTo>
                  <a:lnTo>
                    <a:pt x="241" y="370"/>
                  </a:lnTo>
                  <a:lnTo>
                    <a:pt x="241" y="366"/>
                  </a:lnTo>
                  <a:lnTo>
                    <a:pt x="234" y="363"/>
                  </a:lnTo>
                  <a:lnTo>
                    <a:pt x="223" y="363"/>
                  </a:lnTo>
                  <a:lnTo>
                    <a:pt x="212" y="360"/>
                  </a:lnTo>
                  <a:lnTo>
                    <a:pt x="209" y="355"/>
                  </a:lnTo>
                  <a:lnTo>
                    <a:pt x="204" y="345"/>
                  </a:lnTo>
                  <a:lnTo>
                    <a:pt x="211" y="343"/>
                  </a:lnTo>
                  <a:lnTo>
                    <a:pt x="214" y="337"/>
                  </a:lnTo>
                  <a:lnTo>
                    <a:pt x="222" y="332"/>
                  </a:lnTo>
                  <a:lnTo>
                    <a:pt x="216" y="326"/>
                  </a:lnTo>
                  <a:lnTo>
                    <a:pt x="220" y="322"/>
                  </a:lnTo>
                  <a:lnTo>
                    <a:pt x="213" y="315"/>
                  </a:lnTo>
                  <a:lnTo>
                    <a:pt x="214" y="307"/>
                  </a:lnTo>
                  <a:lnTo>
                    <a:pt x="214" y="300"/>
                  </a:lnTo>
                  <a:lnTo>
                    <a:pt x="207" y="297"/>
                  </a:lnTo>
                  <a:lnTo>
                    <a:pt x="207" y="290"/>
                  </a:lnTo>
                  <a:lnTo>
                    <a:pt x="199" y="291"/>
                  </a:lnTo>
                  <a:lnTo>
                    <a:pt x="198" y="283"/>
                  </a:lnTo>
                  <a:lnTo>
                    <a:pt x="194" y="290"/>
                  </a:lnTo>
                  <a:lnTo>
                    <a:pt x="187" y="287"/>
                  </a:lnTo>
                  <a:lnTo>
                    <a:pt x="181" y="291"/>
                  </a:lnTo>
                  <a:lnTo>
                    <a:pt x="170" y="291"/>
                  </a:lnTo>
                  <a:lnTo>
                    <a:pt x="163" y="289"/>
                  </a:lnTo>
                  <a:lnTo>
                    <a:pt x="157" y="282"/>
                  </a:lnTo>
                  <a:lnTo>
                    <a:pt x="150" y="282"/>
                  </a:lnTo>
                  <a:lnTo>
                    <a:pt x="144" y="275"/>
                  </a:lnTo>
                  <a:lnTo>
                    <a:pt x="146" y="266"/>
                  </a:lnTo>
                  <a:lnTo>
                    <a:pt x="155" y="260"/>
                  </a:lnTo>
                  <a:lnTo>
                    <a:pt x="147" y="258"/>
                  </a:lnTo>
                  <a:lnTo>
                    <a:pt x="153" y="251"/>
                  </a:lnTo>
                  <a:lnTo>
                    <a:pt x="145" y="246"/>
                  </a:lnTo>
                  <a:lnTo>
                    <a:pt x="139" y="241"/>
                  </a:lnTo>
                  <a:lnTo>
                    <a:pt x="141" y="236"/>
                  </a:lnTo>
                  <a:lnTo>
                    <a:pt x="134" y="231"/>
                  </a:lnTo>
                  <a:lnTo>
                    <a:pt x="133" y="224"/>
                  </a:lnTo>
                  <a:lnTo>
                    <a:pt x="124" y="218"/>
                  </a:lnTo>
                  <a:lnTo>
                    <a:pt x="119" y="215"/>
                  </a:lnTo>
                  <a:lnTo>
                    <a:pt x="91" y="212"/>
                  </a:lnTo>
                  <a:lnTo>
                    <a:pt x="85" y="209"/>
                  </a:lnTo>
                  <a:lnTo>
                    <a:pt x="80" y="200"/>
                  </a:lnTo>
                  <a:lnTo>
                    <a:pt x="76" y="193"/>
                  </a:lnTo>
                  <a:lnTo>
                    <a:pt x="69" y="198"/>
                  </a:lnTo>
                  <a:lnTo>
                    <a:pt x="62" y="195"/>
                  </a:lnTo>
                  <a:lnTo>
                    <a:pt x="58" y="188"/>
                  </a:lnTo>
                  <a:lnTo>
                    <a:pt x="45" y="184"/>
                  </a:lnTo>
                  <a:lnTo>
                    <a:pt x="36" y="181"/>
                  </a:lnTo>
                  <a:lnTo>
                    <a:pt x="27" y="184"/>
                  </a:lnTo>
                  <a:lnTo>
                    <a:pt x="20" y="178"/>
                  </a:lnTo>
                  <a:lnTo>
                    <a:pt x="21" y="170"/>
                  </a:lnTo>
                  <a:lnTo>
                    <a:pt x="17" y="165"/>
                  </a:lnTo>
                  <a:lnTo>
                    <a:pt x="22" y="158"/>
                  </a:lnTo>
                  <a:lnTo>
                    <a:pt x="17" y="151"/>
                  </a:lnTo>
                  <a:lnTo>
                    <a:pt x="11" y="148"/>
                  </a:lnTo>
                  <a:lnTo>
                    <a:pt x="0" y="142"/>
                  </a:lnTo>
                  <a:lnTo>
                    <a:pt x="9" y="135"/>
                  </a:lnTo>
                  <a:lnTo>
                    <a:pt x="8" y="128"/>
                  </a:lnTo>
                  <a:lnTo>
                    <a:pt x="0" y="116"/>
                  </a:lnTo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78" name="Freeform 74">
              <a:extLst>
                <a:ext uri="{FF2B5EF4-FFF2-40B4-BE49-F238E27FC236}">
                  <a16:creationId xmlns:a16="http://schemas.microsoft.com/office/drawing/2014/main" id="{DE7D538D-1E6F-4CDD-B24B-954CB57A4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" y="1064"/>
              <a:ext cx="87" cy="107"/>
            </a:xfrm>
            <a:custGeom>
              <a:avLst/>
              <a:gdLst>
                <a:gd name="T0" fmla="*/ 77 w 87"/>
                <a:gd name="T1" fmla="*/ 0 h 107"/>
                <a:gd name="T2" fmla="*/ 65 w 87"/>
                <a:gd name="T3" fmla="*/ 0 h 107"/>
                <a:gd name="T4" fmla="*/ 51 w 87"/>
                <a:gd name="T5" fmla="*/ 3 h 107"/>
                <a:gd name="T6" fmla="*/ 43 w 87"/>
                <a:gd name="T7" fmla="*/ 10 h 107"/>
                <a:gd name="T8" fmla="*/ 36 w 87"/>
                <a:gd name="T9" fmla="*/ 17 h 107"/>
                <a:gd name="T10" fmla="*/ 29 w 87"/>
                <a:gd name="T11" fmla="*/ 19 h 107"/>
                <a:gd name="T12" fmla="*/ 26 w 87"/>
                <a:gd name="T13" fmla="*/ 24 h 107"/>
                <a:gd name="T14" fmla="*/ 16 w 87"/>
                <a:gd name="T15" fmla="*/ 27 h 107"/>
                <a:gd name="T16" fmla="*/ 6 w 87"/>
                <a:gd name="T17" fmla="*/ 28 h 107"/>
                <a:gd name="T18" fmla="*/ 1 w 87"/>
                <a:gd name="T19" fmla="*/ 35 h 107"/>
                <a:gd name="T20" fmla="*/ 0 w 87"/>
                <a:gd name="T21" fmla="*/ 44 h 107"/>
                <a:gd name="T22" fmla="*/ 1 w 87"/>
                <a:gd name="T23" fmla="*/ 52 h 107"/>
                <a:gd name="T24" fmla="*/ 2 w 87"/>
                <a:gd name="T25" fmla="*/ 60 h 107"/>
                <a:gd name="T26" fmla="*/ 1 w 87"/>
                <a:gd name="T27" fmla="*/ 68 h 107"/>
                <a:gd name="T28" fmla="*/ 7 w 87"/>
                <a:gd name="T29" fmla="*/ 73 h 107"/>
                <a:gd name="T30" fmla="*/ 8 w 87"/>
                <a:gd name="T31" fmla="*/ 80 h 107"/>
                <a:gd name="T32" fmla="*/ 16 w 87"/>
                <a:gd name="T33" fmla="*/ 80 h 107"/>
                <a:gd name="T34" fmla="*/ 24 w 87"/>
                <a:gd name="T35" fmla="*/ 85 h 107"/>
                <a:gd name="T36" fmla="*/ 25 w 87"/>
                <a:gd name="T37" fmla="*/ 92 h 107"/>
                <a:gd name="T38" fmla="*/ 34 w 87"/>
                <a:gd name="T39" fmla="*/ 91 h 107"/>
                <a:gd name="T40" fmla="*/ 45 w 87"/>
                <a:gd name="T41" fmla="*/ 93 h 107"/>
                <a:gd name="T42" fmla="*/ 51 w 87"/>
                <a:gd name="T43" fmla="*/ 95 h 107"/>
                <a:gd name="T44" fmla="*/ 58 w 87"/>
                <a:gd name="T45" fmla="*/ 107 h 107"/>
                <a:gd name="T46" fmla="*/ 64 w 87"/>
                <a:gd name="T47" fmla="*/ 102 h 107"/>
                <a:gd name="T48" fmla="*/ 68 w 87"/>
                <a:gd name="T49" fmla="*/ 94 h 107"/>
                <a:gd name="T50" fmla="*/ 70 w 87"/>
                <a:gd name="T51" fmla="*/ 88 h 107"/>
                <a:gd name="T52" fmla="*/ 74 w 87"/>
                <a:gd name="T53" fmla="*/ 79 h 107"/>
                <a:gd name="T54" fmla="*/ 75 w 87"/>
                <a:gd name="T55" fmla="*/ 72 h 107"/>
                <a:gd name="T56" fmla="*/ 81 w 87"/>
                <a:gd name="T57" fmla="*/ 63 h 107"/>
                <a:gd name="T58" fmla="*/ 84 w 87"/>
                <a:gd name="T59" fmla="*/ 56 h 107"/>
                <a:gd name="T60" fmla="*/ 84 w 87"/>
                <a:gd name="T61" fmla="*/ 47 h 107"/>
                <a:gd name="T62" fmla="*/ 82 w 87"/>
                <a:gd name="T63" fmla="*/ 40 h 107"/>
                <a:gd name="T64" fmla="*/ 87 w 87"/>
                <a:gd name="T65" fmla="*/ 32 h 107"/>
                <a:gd name="T66" fmla="*/ 83 w 87"/>
                <a:gd name="T67" fmla="*/ 24 h 107"/>
                <a:gd name="T68" fmla="*/ 83 w 87"/>
                <a:gd name="T69" fmla="*/ 10 h 107"/>
                <a:gd name="T70" fmla="*/ 77 w 87"/>
                <a:gd name="T7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7" h="107">
                  <a:moveTo>
                    <a:pt x="77" y="0"/>
                  </a:moveTo>
                  <a:lnTo>
                    <a:pt x="65" y="0"/>
                  </a:lnTo>
                  <a:lnTo>
                    <a:pt x="51" y="3"/>
                  </a:lnTo>
                  <a:lnTo>
                    <a:pt x="43" y="10"/>
                  </a:lnTo>
                  <a:lnTo>
                    <a:pt x="36" y="17"/>
                  </a:lnTo>
                  <a:lnTo>
                    <a:pt x="29" y="19"/>
                  </a:lnTo>
                  <a:lnTo>
                    <a:pt x="26" y="24"/>
                  </a:lnTo>
                  <a:lnTo>
                    <a:pt x="16" y="27"/>
                  </a:lnTo>
                  <a:lnTo>
                    <a:pt x="6" y="28"/>
                  </a:lnTo>
                  <a:lnTo>
                    <a:pt x="1" y="35"/>
                  </a:lnTo>
                  <a:lnTo>
                    <a:pt x="0" y="44"/>
                  </a:lnTo>
                  <a:lnTo>
                    <a:pt x="1" y="52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7" y="73"/>
                  </a:lnTo>
                  <a:lnTo>
                    <a:pt x="8" y="80"/>
                  </a:lnTo>
                  <a:lnTo>
                    <a:pt x="16" y="80"/>
                  </a:lnTo>
                  <a:lnTo>
                    <a:pt x="24" y="85"/>
                  </a:lnTo>
                  <a:lnTo>
                    <a:pt x="25" y="92"/>
                  </a:lnTo>
                  <a:lnTo>
                    <a:pt x="34" y="91"/>
                  </a:lnTo>
                  <a:lnTo>
                    <a:pt x="45" y="93"/>
                  </a:lnTo>
                  <a:lnTo>
                    <a:pt x="51" y="95"/>
                  </a:lnTo>
                  <a:lnTo>
                    <a:pt x="58" y="107"/>
                  </a:lnTo>
                  <a:lnTo>
                    <a:pt x="64" y="102"/>
                  </a:lnTo>
                  <a:lnTo>
                    <a:pt x="68" y="94"/>
                  </a:lnTo>
                  <a:lnTo>
                    <a:pt x="70" y="88"/>
                  </a:lnTo>
                  <a:lnTo>
                    <a:pt x="74" y="79"/>
                  </a:lnTo>
                  <a:lnTo>
                    <a:pt x="75" y="72"/>
                  </a:lnTo>
                  <a:lnTo>
                    <a:pt x="81" y="63"/>
                  </a:lnTo>
                  <a:lnTo>
                    <a:pt x="84" y="56"/>
                  </a:lnTo>
                  <a:lnTo>
                    <a:pt x="84" y="47"/>
                  </a:lnTo>
                  <a:lnTo>
                    <a:pt x="82" y="40"/>
                  </a:lnTo>
                  <a:lnTo>
                    <a:pt x="87" y="32"/>
                  </a:lnTo>
                  <a:lnTo>
                    <a:pt x="83" y="24"/>
                  </a:lnTo>
                  <a:lnTo>
                    <a:pt x="83" y="10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79" name="Rectangle 76">
              <a:extLst>
                <a:ext uri="{FF2B5EF4-FFF2-40B4-BE49-F238E27FC236}">
                  <a16:creationId xmlns:a16="http://schemas.microsoft.com/office/drawing/2014/main" id="{65CEE06A-1B0B-4C28-B715-412BD7A591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" y="156"/>
              <a:ext cx="399" cy="48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80" name="Rectangle 77">
              <a:extLst>
                <a:ext uri="{FF2B5EF4-FFF2-40B4-BE49-F238E27FC236}">
                  <a16:creationId xmlns:a16="http://schemas.microsoft.com/office/drawing/2014/main" id="{82D98EF0-31A8-494D-982B-B2F68EB57F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" y="156"/>
              <a:ext cx="399" cy="484"/>
            </a:xfrm>
            <a:prstGeom prst="rect">
              <a:avLst/>
            </a:prstGeom>
            <a:noFill/>
            <a:ln w="7938" cap="flat">
              <a:solidFill>
                <a:srgbClr val="4454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81" name="Freeform 78">
              <a:extLst>
                <a:ext uri="{FF2B5EF4-FFF2-40B4-BE49-F238E27FC236}">
                  <a16:creationId xmlns:a16="http://schemas.microsoft.com/office/drawing/2014/main" id="{E18C1B20-9ECB-4F96-B247-0A5694CF7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" y="240"/>
              <a:ext cx="106" cy="359"/>
            </a:xfrm>
            <a:custGeom>
              <a:avLst/>
              <a:gdLst>
                <a:gd name="T0" fmla="*/ 304 w 332"/>
                <a:gd name="T1" fmla="*/ 120 h 1124"/>
                <a:gd name="T2" fmla="*/ 252 w 332"/>
                <a:gd name="T3" fmla="*/ 70 h 1124"/>
                <a:gd name="T4" fmla="*/ 228 w 332"/>
                <a:gd name="T5" fmla="*/ 14 h 1124"/>
                <a:gd name="T6" fmla="*/ 176 w 332"/>
                <a:gd name="T7" fmla="*/ 33 h 1124"/>
                <a:gd name="T8" fmla="*/ 143 w 332"/>
                <a:gd name="T9" fmla="*/ 64 h 1124"/>
                <a:gd name="T10" fmla="*/ 105 w 332"/>
                <a:gd name="T11" fmla="*/ 108 h 1124"/>
                <a:gd name="T12" fmla="*/ 72 w 332"/>
                <a:gd name="T13" fmla="*/ 164 h 1124"/>
                <a:gd name="T14" fmla="*/ 62 w 332"/>
                <a:gd name="T15" fmla="*/ 296 h 1124"/>
                <a:gd name="T16" fmla="*/ 24 w 332"/>
                <a:gd name="T17" fmla="*/ 353 h 1124"/>
                <a:gd name="T18" fmla="*/ 19 w 332"/>
                <a:gd name="T19" fmla="*/ 459 h 1124"/>
                <a:gd name="T20" fmla="*/ 24 w 332"/>
                <a:gd name="T21" fmla="*/ 566 h 1124"/>
                <a:gd name="T22" fmla="*/ 19 w 332"/>
                <a:gd name="T23" fmla="*/ 654 h 1124"/>
                <a:gd name="T24" fmla="*/ 53 w 332"/>
                <a:gd name="T25" fmla="*/ 698 h 1124"/>
                <a:gd name="T26" fmla="*/ 53 w 332"/>
                <a:gd name="T27" fmla="*/ 849 h 1124"/>
                <a:gd name="T28" fmla="*/ 29 w 332"/>
                <a:gd name="T29" fmla="*/ 911 h 1124"/>
                <a:gd name="T30" fmla="*/ 15 w 332"/>
                <a:gd name="T31" fmla="*/ 968 h 1124"/>
                <a:gd name="T32" fmla="*/ 57 w 332"/>
                <a:gd name="T33" fmla="*/ 1081 h 1124"/>
                <a:gd name="T34" fmla="*/ 95 w 332"/>
                <a:gd name="T35" fmla="*/ 1081 h 1124"/>
                <a:gd name="T36" fmla="*/ 124 w 332"/>
                <a:gd name="T37" fmla="*/ 962 h 1124"/>
                <a:gd name="T38" fmla="*/ 143 w 332"/>
                <a:gd name="T39" fmla="*/ 880 h 1124"/>
                <a:gd name="T40" fmla="*/ 157 w 332"/>
                <a:gd name="T41" fmla="*/ 836 h 1124"/>
                <a:gd name="T42" fmla="*/ 171 w 332"/>
                <a:gd name="T43" fmla="*/ 773 h 1124"/>
                <a:gd name="T44" fmla="*/ 185 w 332"/>
                <a:gd name="T45" fmla="*/ 642 h 1124"/>
                <a:gd name="T46" fmla="*/ 200 w 332"/>
                <a:gd name="T47" fmla="*/ 579 h 1124"/>
                <a:gd name="T48" fmla="*/ 195 w 332"/>
                <a:gd name="T49" fmla="*/ 510 h 1124"/>
                <a:gd name="T50" fmla="*/ 214 w 332"/>
                <a:gd name="T51" fmla="*/ 485 h 1124"/>
                <a:gd name="T52" fmla="*/ 214 w 332"/>
                <a:gd name="T53" fmla="*/ 390 h 1124"/>
                <a:gd name="T54" fmla="*/ 195 w 332"/>
                <a:gd name="T55" fmla="*/ 340 h 1124"/>
                <a:gd name="T56" fmla="*/ 242 w 332"/>
                <a:gd name="T57" fmla="*/ 296 h 1124"/>
                <a:gd name="T58" fmla="*/ 214 w 332"/>
                <a:gd name="T59" fmla="*/ 277 h 1124"/>
                <a:gd name="T60" fmla="*/ 209 w 332"/>
                <a:gd name="T61" fmla="*/ 183 h 1124"/>
                <a:gd name="T62" fmla="*/ 261 w 332"/>
                <a:gd name="T63" fmla="*/ 171 h 1124"/>
                <a:gd name="T64" fmla="*/ 332 w 332"/>
                <a:gd name="T65" fmla="*/ 152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2" h="1124">
                  <a:moveTo>
                    <a:pt x="332" y="127"/>
                  </a:moveTo>
                  <a:cubicBezTo>
                    <a:pt x="323" y="125"/>
                    <a:pt x="313" y="126"/>
                    <a:pt x="304" y="120"/>
                  </a:cubicBezTo>
                  <a:cubicBezTo>
                    <a:pt x="299" y="117"/>
                    <a:pt x="299" y="107"/>
                    <a:pt x="295" y="102"/>
                  </a:cubicBezTo>
                  <a:cubicBezTo>
                    <a:pt x="274" y="78"/>
                    <a:pt x="271" y="79"/>
                    <a:pt x="252" y="70"/>
                  </a:cubicBezTo>
                  <a:cubicBezTo>
                    <a:pt x="249" y="64"/>
                    <a:pt x="245" y="58"/>
                    <a:pt x="242" y="51"/>
                  </a:cubicBezTo>
                  <a:cubicBezTo>
                    <a:pt x="237" y="36"/>
                    <a:pt x="239" y="26"/>
                    <a:pt x="228" y="14"/>
                  </a:cubicBezTo>
                  <a:cubicBezTo>
                    <a:pt x="224" y="10"/>
                    <a:pt x="219" y="10"/>
                    <a:pt x="214" y="7"/>
                  </a:cubicBezTo>
                  <a:cubicBezTo>
                    <a:pt x="154" y="23"/>
                    <a:pt x="221" y="0"/>
                    <a:pt x="176" y="33"/>
                  </a:cubicBezTo>
                  <a:cubicBezTo>
                    <a:pt x="167" y="39"/>
                    <a:pt x="147" y="45"/>
                    <a:pt x="147" y="45"/>
                  </a:cubicBezTo>
                  <a:cubicBezTo>
                    <a:pt x="146" y="51"/>
                    <a:pt x="145" y="58"/>
                    <a:pt x="143" y="64"/>
                  </a:cubicBezTo>
                  <a:cubicBezTo>
                    <a:pt x="138" y="76"/>
                    <a:pt x="127" y="95"/>
                    <a:pt x="119" y="102"/>
                  </a:cubicBezTo>
                  <a:cubicBezTo>
                    <a:pt x="115" y="105"/>
                    <a:pt x="110" y="106"/>
                    <a:pt x="105" y="108"/>
                  </a:cubicBezTo>
                  <a:cubicBezTo>
                    <a:pt x="100" y="116"/>
                    <a:pt x="96" y="126"/>
                    <a:pt x="91" y="133"/>
                  </a:cubicBezTo>
                  <a:cubicBezTo>
                    <a:pt x="69" y="161"/>
                    <a:pt x="81" y="128"/>
                    <a:pt x="72" y="164"/>
                  </a:cubicBezTo>
                  <a:cubicBezTo>
                    <a:pt x="70" y="202"/>
                    <a:pt x="70" y="240"/>
                    <a:pt x="67" y="277"/>
                  </a:cubicBezTo>
                  <a:cubicBezTo>
                    <a:pt x="66" y="284"/>
                    <a:pt x="65" y="291"/>
                    <a:pt x="62" y="296"/>
                  </a:cubicBezTo>
                  <a:cubicBezTo>
                    <a:pt x="59" y="302"/>
                    <a:pt x="53" y="305"/>
                    <a:pt x="48" y="309"/>
                  </a:cubicBezTo>
                  <a:cubicBezTo>
                    <a:pt x="40" y="323"/>
                    <a:pt x="31" y="337"/>
                    <a:pt x="24" y="353"/>
                  </a:cubicBezTo>
                  <a:cubicBezTo>
                    <a:pt x="19" y="364"/>
                    <a:pt x="15" y="390"/>
                    <a:pt x="15" y="390"/>
                  </a:cubicBezTo>
                  <a:cubicBezTo>
                    <a:pt x="16" y="413"/>
                    <a:pt x="16" y="437"/>
                    <a:pt x="19" y="459"/>
                  </a:cubicBezTo>
                  <a:cubicBezTo>
                    <a:pt x="21" y="467"/>
                    <a:pt x="29" y="471"/>
                    <a:pt x="29" y="478"/>
                  </a:cubicBezTo>
                  <a:cubicBezTo>
                    <a:pt x="30" y="508"/>
                    <a:pt x="27" y="537"/>
                    <a:pt x="24" y="566"/>
                  </a:cubicBezTo>
                  <a:cubicBezTo>
                    <a:pt x="23" y="579"/>
                    <a:pt x="15" y="604"/>
                    <a:pt x="15" y="604"/>
                  </a:cubicBezTo>
                  <a:cubicBezTo>
                    <a:pt x="16" y="621"/>
                    <a:pt x="12" y="640"/>
                    <a:pt x="19" y="654"/>
                  </a:cubicBezTo>
                  <a:cubicBezTo>
                    <a:pt x="24" y="663"/>
                    <a:pt x="37" y="653"/>
                    <a:pt x="43" y="660"/>
                  </a:cubicBezTo>
                  <a:cubicBezTo>
                    <a:pt x="50" y="670"/>
                    <a:pt x="49" y="685"/>
                    <a:pt x="53" y="698"/>
                  </a:cubicBezTo>
                  <a:lnTo>
                    <a:pt x="57" y="717"/>
                  </a:lnTo>
                  <a:cubicBezTo>
                    <a:pt x="56" y="761"/>
                    <a:pt x="55" y="805"/>
                    <a:pt x="53" y="849"/>
                  </a:cubicBezTo>
                  <a:cubicBezTo>
                    <a:pt x="53" y="850"/>
                    <a:pt x="47" y="893"/>
                    <a:pt x="43" y="899"/>
                  </a:cubicBezTo>
                  <a:cubicBezTo>
                    <a:pt x="40" y="905"/>
                    <a:pt x="34" y="907"/>
                    <a:pt x="29" y="911"/>
                  </a:cubicBezTo>
                  <a:lnTo>
                    <a:pt x="19" y="949"/>
                  </a:lnTo>
                  <a:lnTo>
                    <a:pt x="15" y="968"/>
                  </a:lnTo>
                  <a:cubicBezTo>
                    <a:pt x="17" y="1014"/>
                    <a:pt x="0" y="1058"/>
                    <a:pt x="34" y="1075"/>
                  </a:cubicBezTo>
                  <a:cubicBezTo>
                    <a:pt x="41" y="1078"/>
                    <a:pt x="49" y="1079"/>
                    <a:pt x="57" y="1081"/>
                  </a:cubicBezTo>
                  <a:cubicBezTo>
                    <a:pt x="62" y="1107"/>
                    <a:pt x="59" y="1124"/>
                    <a:pt x="91" y="1100"/>
                  </a:cubicBezTo>
                  <a:cubicBezTo>
                    <a:pt x="95" y="1097"/>
                    <a:pt x="94" y="1087"/>
                    <a:pt x="95" y="1081"/>
                  </a:cubicBezTo>
                  <a:cubicBezTo>
                    <a:pt x="110" y="1015"/>
                    <a:pt x="87" y="1108"/>
                    <a:pt x="110" y="1018"/>
                  </a:cubicBezTo>
                  <a:lnTo>
                    <a:pt x="124" y="962"/>
                  </a:lnTo>
                  <a:cubicBezTo>
                    <a:pt x="125" y="955"/>
                    <a:pt x="127" y="949"/>
                    <a:pt x="128" y="943"/>
                  </a:cubicBezTo>
                  <a:cubicBezTo>
                    <a:pt x="136" y="905"/>
                    <a:pt x="131" y="926"/>
                    <a:pt x="143" y="880"/>
                  </a:cubicBezTo>
                  <a:cubicBezTo>
                    <a:pt x="144" y="874"/>
                    <a:pt x="145" y="867"/>
                    <a:pt x="147" y="861"/>
                  </a:cubicBezTo>
                  <a:cubicBezTo>
                    <a:pt x="151" y="853"/>
                    <a:pt x="154" y="845"/>
                    <a:pt x="157" y="836"/>
                  </a:cubicBezTo>
                  <a:cubicBezTo>
                    <a:pt x="162" y="821"/>
                    <a:pt x="163" y="808"/>
                    <a:pt x="166" y="792"/>
                  </a:cubicBezTo>
                  <a:cubicBezTo>
                    <a:pt x="168" y="786"/>
                    <a:pt x="169" y="779"/>
                    <a:pt x="171" y="773"/>
                  </a:cubicBezTo>
                  <a:cubicBezTo>
                    <a:pt x="174" y="767"/>
                    <a:pt x="178" y="761"/>
                    <a:pt x="181" y="755"/>
                  </a:cubicBezTo>
                  <a:cubicBezTo>
                    <a:pt x="176" y="705"/>
                    <a:pt x="171" y="693"/>
                    <a:pt x="185" y="642"/>
                  </a:cubicBezTo>
                  <a:cubicBezTo>
                    <a:pt x="189" y="627"/>
                    <a:pt x="204" y="604"/>
                    <a:pt x="204" y="604"/>
                  </a:cubicBezTo>
                  <a:cubicBezTo>
                    <a:pt x="203" y="595"/>
                    <a:pt x="202" y="587"/>
                    <a:pt x="200" y="579"/>
                  </a:cubicBezTo>
                  <a:cubicBezTo>
                    <a:pt x="197" y="566"/>
                    <a:pt x="190" y="541"/>
                    <a:pt x="190" y="541"/>
                  </a:cubicBezTo>
                  <a:cubicBezTo>
                    <a:pt x="192" y="531"/>
                    <a:pt x="193" y="520"/>
                    <a:pt x="195" y="510"/>
                  </a:cubicBezTo>
                  <a:cubicBezTo>
                    <a:pt x="196" y="503"/>
                    <a:pt x="196" y="496"/>
                    <a:pt x="200" y="491"/>
                  </a:cubicBezTo>
                  <a:cubicBezTo>
                    <a:pt x="203" y="486"/>
                    <a:pt x="209" y="487"/>
                    <a:pt x="214" y="485"/>
                  </a:cubicBezTo>
                  <a:cubicBezTo>
                    <a:pt x="217" y="478"/>
                    <a:pt x="223" y="473"/>
                    <a:pt x="223" y="466"/>
                  </a:cubicBezTo>
                  <a:cubicBezTo>
                    <a:pt x="227" y="404"/>
                    <a:pt x="220" y="427"/>
                    <a:pt x="214" y="390"/>
                  </a:cubicBezTo>
                  <a:cubicBezTo>
                    <a:pt x="212" y="378"/>
                    <a:pt x="213" y="364"/>
                    <a:pt x="209" y="353"/>
                  </a:cubicBezTo>
                  <a:cubicBezTo>
                    <a:pt x="207" y="346"/>
                    <a:pt x="200" y="344"/>
                    <a:pt x="195" y="340"/>
                  </a:cubicBezTo>
                  <a:cubicBezTo>
                    <a:pt x="203" y="265"/>
                    <a:pt x="188" y="303"/>
                    <a:pt x="214" y="303"/>
                  </a:cubicBezTo>
                  <a:cubicBezTo>
                    <a:pt x="223" y="303"/>
                    <a:pt x="233" y="298"/>
                    <a:pt x="242" y="296"/>
                  </a:cubicBezTo>
                  <a:cubicBezTo>
                    <a:pt x="238" y="292"/>
                    <a:pt x="233" y="287"/>
                    <a:pt x="228" y="284"/>
                  </a:cubicBezTo>
                  <a:cubicBezTo>
                    <a:pt x="224" y="281"/>
                    <a:pt x="217" y="282"/>
                    <a:pt x="214" y="277"/>
                  </a:cubicBezTo>
                  <a:cubicBezTo>
                    <a:pt x="210" y="273"/>
                    <a:pt x="211" y="265"/>
                    <a:pt x="209" y="259"/>
                  </a:cubicBezTo>
                  <a:cubicBezTo>
                    <a:pt x="209" y="254"/>
                    <a:pt x="198" y="193"/>
                    <a:pt x="209" y="183"/>
                  </a:cubicBezTo>
                  <a:cubicBezTo>
                    <a:pt x="220" y="174"/>
                    <a:pt x="234" y="179"/>
                    <a:pt x="247" y="177"/>
                  </a:cubicBezTo>
                  <a:cubicBezTo>
                    <a:pt x="252" y="175"/>
                    <a:pt x="257" y="174"/>
                    <a:pt x="261" y="171"/>
                  </a:cubicBezTo>
                  <a:cubicBezTo>
                    <a:pt x="298" y="146"/>
                    <a:pt x="254" y="168"/>
                    <a:pt x="290" y="152"/>
                  </a:cubicBezTo>
                  <a:cubicBezTo>
                    <a:pt x="297" y="154"/>
                    <a:pt x="322" y="165"/>
                    <a:pt x="332" y="152"/>
                  </a:cubicBezTo>
                  <a:lnTo>
                    <a:pt x="332" y="127"/>
                  </a:lnTo>
                  <a:close/>
                </a:path>
              </a:pathLst>
            </a:custGeom>
            <a:solidFill>
              <a:srgbClr val="4472C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82" name="Freeform 79">
              <a:extLst>
                <a:ext uri="{FF2B5EF4-FFF2-40B4-BE49-F238E27FC236}">
                  <a16:creationId xmlns:a16="http://schemas.microsoft.com/office/drawing/2014/main" id="{2E1D4DA3-C5B4-4D50-B281-2187D0D3E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" y="240"/>
              <a:ext cx="106" cy="359"/>
            </a:xfrm>
            <a:custGeom>
              <a:avLst/>
              <a:gdLst>
                <a:gd name="T0" fmla="*/ 304 w 332"/>
                <a:gd name="T1" fmla="*/ 120 h 1124"/>
                <a:gd name="T2" fmla="*/ 252 w 332"/>
                <a:gd name="T3" fmla="*/ 70 h 1124"/>
                <a:gd name="T4" fmla="*/ 228 w 332"/>
                <a:gd name="T5" fmla="*/ 14 h 1124"/>
                <a:gd name="T6" fmla="*/ 176 w 332"/>
                <a:gd name="T7" fmla="*/ 33 h 1124"/>
                <a:gd name="T8" fmla="*/ 143 w 332"/>
                <a:gd name="T9" fmla="*/ 64 h 1124"/>
                <a:gd name="T10" fmla="*/ 105 w 332"/>
                <a:gd name="T11" fmla="*/ 108 h 1124"/>
                <a:gd name="T12" fmla="*/ 72 w 332"/>
                <a:gd name="T13" fmla="*/ 164 h 1124"/>
                <a:gd name="T14" fmla="*/ 62 w 332"/>
                <a:gd name="T15" fmla="*/ 296 h 1124"/>
                <a:gd name="T16" fmla="*/ 24 w 332"/>
                <a:gd name="T17" fmla="*/ 353 h 1124"/>
                <a:gd name="T18" fmla="*/ 19 w 332"/>
                <a:gd name="T19" fmla="*/ 459 h 1124"/>
                <a:gd name="T20" fmla="*/ 24 w 332"/>
                <a:gd name="T21" fmla="*/ 566 h 1124"/>
                <a:gd name="T22" fmla="*/ 19 w 332"/>
                <a:gd name="T23" fmla="*/ 654 h 1124"/>
                <a:gd name="T24" fmla="*/ 53 w 332"/>
                <a:gd name="T25" fmla="*/ 698 h 1124"/>
                <a:gd name="T26" fmla="*/ 53 w 332"/>
                <a:gd name="T27" fmla="*/ 849 h 1124"/>
                <a:gd name="T28" fmla="*/ 29 w 332"/>
                <a:gd name="T29" fmla="*/ 911 h 1124"/>
                <a:gd name="T30" fmla="*/ 15 w 332"/>
                <a:gd name="T31" fmla="*/ 968 h 1124"/>
                <a:gd name="T32" fmla="*/ 57 w 332"/>
                <a:gd name="T33" fmla="*/ 1081 h 1124"/>
                <a:gd name="T34" fmla="*/ 95 w 332"/>
                <a:gd name="T35" fmla="*/ 1081 h 1124"/>
                <a:gd name="T36" fmla="*/ 124 w 332"/>
                <a:gd name="T37" fmla="*/ 962 h 1124"/>
                <a:gd name="T38" fmla="*/ 143 w 332"/>
                <a:gd name="T39" fmla="*/ 880 h 1124"/>
                <a:gd name="T40" fmla="*/ 157 w 332"/>
                <a:gd name="T41" fmla="*/ 836 h 1124"/>
                <a:gd name="T42" fmla="*/ 171 w 332"/>
                <a:gd name="T43" fmla="*/ 773 h 1124"/>
                <a:gd name="T44" fmla="*/ 185 w 332"/>
                <a:gd name="T45" fmla="*/ 642 h 1124"/>
                <a:gd name="T46" fmla="*/ 200 w 332"/>
                <a:gd name="T47" fmla="*/ 579 h 1124"/>
                <a:gd name="T48" fmla="*/ 195 w 332"/>
                <a:gd name="T49" fmla="*/ 510 h 1124"/>
                <a:gd name="T50" fmla="*/ 214 w 332"/>
                <a:gd name="T51" fmla="*/ 485 h 1124"/>
                <a:gd name="T52" fmla="*/ 214 w 332"/>
                <a:gd name="T53" fmla="*/ 390 h 1124"/>
                <a:gd name="T54" fmla="*/ 195 w 332"/>
                <a:gd name="T55" fmla="*/ 340 h 1124"/>
                <a:gd name="T56" fmla="*/ 242 w 332"/>
                <a:gd name="T57" fmla="*/ 296 h 1124"/>
                <a:gd name="T58" fmla="*/ 214 w 332"/>
                <a:gd name="T59" fmla="*/ 277 h 1124"/>
                <a:gd name="T60" fmla="*/ 209 w 332"/>
                <a:gd name="T61" fmla="*/ 183 h 1124"/>
                <a:gd name="T62" fmla="*/ 261 w 332"/>
                <a:gd name="T63" fmla="*/ 171 h 1124"/>
                <a:gd name="T64" fmla="*/ 332 w 332"/>
                <a:gd name="T65" fmla="*/ 152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2" h="1124">
                  <a:moveTo>
                    <a:pt x="332" y="127"/>
                  </a:moveTo>
                  <a:cubicBezTo>
                    <a:pt x="323" y="125"/>
                    <a:pt x="313" y="126"/>
                    <a:pt x="304" y="120"/>
                  </a:cubicBezTo>
                  <a:cubicBezTo>
                    <a:pt x="299" y="117"/>
                    <a:pt x="299" y="107"/>
                    <a:pt x="295" y="102"/>
                  </a:cubicBezTo>
                  <a:cubicBezTo>
                    <a:pt x="274" y="78"/>
                    <a:pt x="271" y="79"/>
                    <a:pt x="252" y="70"/>
                  </a:cubicBezTo>
                  <a:cubicBezTo>
                    <a:pt x="249" y="64"/>
                    <a:pt x="245" y="58"/>
                    <a:pt x="242" y="51"/>
                  </a:cubicBezTo>
                  <a:cubicBezTo>
                    <a:pt x="237" y="36"/>
                    <a:pt x="239" y="26"/>
                    <a:pt x="228" y="14"/>
                  </a:cubicBezTo>
                  <a:cubicBezTo>
                    <a:pt x="224" y="10"/>
                    <a:pt x="219" y="10"/>
                    <a:pt x="214" y="7"/>
                  </a:cubicBezTo>
                  <a:cubicBezTo>
                    <a:pt x="154" y="23"/>
                    <a:pt x="221" y="0"/>
                    <a:pt x="176" y="33"/>
                  </a:cubicBezTo>
                  <a:cubicBezTo>
                    <a:pt x="167" y="39"/>
                    <a:pt x="147" y="45"/>
                    <a:pt x="147" y="45"/>
                  </a:cubicBezTo>
                  <a:cubicBezTo>
                    <a:pt x="146" y="51"/>
                    <a:pt x="145" y="58"/>
                    <a:pt x="143" y="64"/>
                  </a:cubicBezTo>
                  <a:cubicBezTo>
                    <a:pt x="138" y="76"/>
                    <a:pt x="127" y="95"/>
                    <a:pt x="119" y="102"/>
                  </a:cubicBezTo>
                  <a:cubicBezTo>
                    <a:pt x="115" y="105"/>
                    <a:pt x="110" y="106"/>
                    <a:pt x="105" y="108"/>
                  </a:cubicBezTo>
                  <a:cubicBezTo>
                    <a:pt x="100" y="116"/>
                    <a:pt x="96" y="126"/>
                    <a:pt x="91" y="133"/>
                  </a:cubicBezTo>
                  <a:cubicBezTo>
                    <a:pt x="69" y="161"/>
                    <a:pt x="81" y="128"/>
                    <a:pt x="72" y="164"/>
                  </a:cubicBezTo>
                  <a:cubicBezTo>
                    <a:pt x="70" y="202"/>
                    <a:pt x="70" y="240"/>
                    <a:pt x="67" y="277"/>
                  </a:cubicBezTo>
                  <a:cubicBezTo>
                    <a:pt x="66" y="284"/>
                    <a:pt x="65" y="291"/>
                    <a:pt x="62" y="296"/>
                  </a:cubicBezTo>
                  <a:cubicBezTo>
                    <a:pt x="59" y="302"/>
                    <a:pt x="53" y="305"/>
                    <a:pt x="48" y="309"/>
                  </a:cubicBezTo>
                  <a:cubicBezTo>
                    <a:pt x="40" y="323"/>
                    <a:pt x="31" y="337"/>
                    <a:pt x="24" y="353"/>
                  </a:cubicBezTo>
                  <a:cubicBezTo>
                    <a:pt x="19" y="364"/>
                    <a:pt x="15" y="390"/>
                    <a:pt x="15" y="390"/>
                  </a:cubicBezTo>
                  <a:cubicBezTo>
                    <a:pt x="16" y="413"/>
                    <a:pt x="16" y="437"/>
                    <a:pt x="19" y="459"/>
                  </a:cubicBezTo>
                  <a:cubicBezTo>
                    <a:pt x="21" y="467"/>
                    <a:pt x="29" y="471"/>
                    <a:pt x="29" y="478"/>
                  </a:cubicBezTo>
                  <a:cubicBezTo>
                    <a:pt x="30" y="508"/>
                    <a:pt x="27" y="537"/>
                    <a:pt x="24" y="566"/>
                  </a:cubicBezTo>
                  <a:cubicBezTo>
                    <a:pt x="23" y="579"/>
                    <a:pt x="15" y="604"/>
                    <a:pt x="15" y="604"/>
                  </a:cubicBezTo>
                  <a:cubicBezTo>
                    <a:pt x="16" y="621"/>
                    <a:pt x="12" y="640"/>
                    <a:pt x="19" y="654"/>
                  </a:cubicBezTo>
                  <a:cubicBezTo>
                    <a:pt x="24" y="663"/>
                    <a:pt x="37" y="653"/>
                    <a:pt x="43" y="660"/>
                  </a:cubicBezTo>
                  <a:cubicBezTo>
                    <a:pt x="50" y="670"/>
                    <a:pt x="49" y="685"/>
                    <a:pt x="53" y="698"/>
                  </a:cubicBezTo>
                  <a:lnTo>
                    <a:pt x="57" y="717"/>
                  </a:lnTo>
                  <a:cubicBezTo>
                    <a:pt x="56" y="761"/>
                    <a:pt x="55" y="805"/>
                    <a:pt x="53" y="849"/>
                  </a:cubicBezTo>
                  <a:cubicBezTo>
                    <a:pt x="53" y="850"/>
                    <a:pt x="47" y="893"/>
                    <a:pt x="43" y="899"/>
                  </a:cubicBezTo>
                  <a:cubicBezTo>
                    <a:pt x="40" y="905"/>
                    <a:pt x="34" y="907"/>
                    <a:pt x="29" y="911"/>
                  </a:cubicBezTo>
                  <a:lnTo>
                    <a:pt x="19" y="949"/>
                  </a:lnTo>
                  <a:lnTo>
                    <a:pt x="15" y="968"/>
                  </a:lnTo>
                  <a:cubicBezTo>
                    <a:pt x="17" y="1014"/>
                    <a:pt x="0" y="1058"/>
                    <a:pt x="34" y="1075"/>
                  </a:cubicBezTo>
                  <a:cubicBezTo>
                    <a:pt x="41" y="1078"/>
                    <a:pt x="49" y="1079"/>
                    <a:pt x="57" y="1081"/>
                  </a:cubicBezTo>
                  <a:cubicBezTo>
                    <a:pt x="62" y="1107"/>
                    <a:pt x="59" y="1124"/>
                    <a:pt x="91" y="1100"/>
                  </a:cubicBezTo>
                  <a:cubicBezTo>
                    <a:pt x="95" y="1097"/>
                    <a:pt x="94" y="1087"/>
                    <a:pt x="95" y="1081"/>
                  </a:cubicBezTo>
                  <a:cubicBezTo>
                    <a:pt x="110" y="1015"/>
                    <a:pt x="87" y="1108"/>
                    <a:pt x="110" y="1018"/>
                  </a:cubicBezTo>
                  <a:lnTo>
                    <a:pt x="124" y="962"/>
                  </a:lnTo>
                  <a:cubicBezTo>
                    <a:pt x="125" y="955"/>
                    <a:pt x="127" y="949"/>
                    <a:pt x="128" y="943"/>
                  </a:cubicBezTo>
                  <a:cubicBezTo>
                    <a:pt x="136" y="905"/>
                    <a:pt x="131" y="926"/>
                    <a:pt x="143" y="880"/>
                  </a:cubicBezTo>
                  <a:cubicBezTo>
                    <a:pt x="144" y="874"/>
                    <a:pt x="145" y="867"/>
                    <a:pt x="147" y="861"/>
                  </a:cubicBezTo>
                  <a:cubicBezTo>
                    <a:pt x="151" y="853"/>
                    <a:pt x="154" y="845"/>
                    <a:pt x="157" y="836"/>
                  </a:cubicBezTo>
                  <a:cubicBezTo>
                    <a:pt x="162" y="821"/>
                    <a:pt x="163" y="808"/>
                    <a:pt x="166" y="792"/>
                  </a:cubicBezTo>
                  <a:cubicBezTo>
                    <a:pt x="168" y="786"/>
                    <a:pt x="169" y="779"/>
                    <a:pt x="171" y="773"/>
                  </a:cubicBezTo>
                  <a:cubicBezTo>
                    <a:pt x="174" y="767"/>
                    <a:pt x="178" y="761"/>
                    <a:pt x="181" y="755"/>
                  </a:cubicBezTo>
                  <a:cubicBezTo>
                    <a:pt x="176" y="705"/>
                    <a:pt x="171" y="693"/>
                    <a:pt x="185" y="642"/>
                  </a:cubicBezTo>
                  <a:cubicBezTo>
                    <a:pt x="189" y="627"/>
                    <a:pt x="204" y="604"/>
                    <a:pt x="204" y="604"/>
                  </a:cubicBezTo>
                  <a:cubicBezTo>
                    <a:pt x="203" y="595"/>
                    <a:pt x="202" y="587"/>
                    <a:pt x="200" y="579"/>
                  </a:cubicBezTo>
                  <a:cubicBezTo>
                    <a:pt x="197" y="566"/>
                    <a:pt x="190" y="541"/>
                    <a:pt x="190" y="541"/>
                  </a:cubicBezTo>
                  <a:cubicBezTo>
                    <a:pt x="192" y="531"/>
                    <a:pt x="193" y="520"/>
                    <a:pt x="195" y="510"/>
                  </a:cubicBezTo>
                  <a:cubicBezTo>
                    <a:pt x="196" y="503"/>
                    <a:pt x="196" y="496"/>
                    <a:pt x="200" y="491"/>
                  </a:cubicBezTo>
                  <a:cubicBezTo>
                    <a:pt x="203" y="486"/>
                    <a:pt x="209" y="487"/>
                    <a:pt x="214" y="485"/>
                  </a:cubicBezTo>
                  <a:cubicBezTo>
                    <a:pt x="217" y="478"/>
                    <a:pt x="223" y="473"/>
                    <a:pt x="223" y="466"/>
                  </a:cubicBezTo>
                  <a:cubicBezTo>
                    <a:pt x="227" y="404"/>
                    <a:pt x="220" y="427"/>
                    <a:pt x="214" y="390"/>
                  </a:cubicBezTo>
                  <a:cubicBezTo>
                    <a:pt x="212" y="378"/>
                    <a:pt x="213" y="364"/>
                    <a:pt x="209" y="353"/>
                  </a:cubicBezTo>
                  <a:cubicBezTo>
                    <a:pt x="207" y="346"/>
                    <a:pt x="200" y="344"/>
                    <a:pt x="195" y="340"/>
                  </a:cubicBezTo>
                  <a:cubicBezTo>
                    <a:pt x="203" y="265"/>
                    <a:pt x="188" y="303"/>
                    <a:pt x="214" y="303"/>
                  </a:cubicBezTo>
                  <a:cubicBezTo>
                    <a:pt x="223" y="303"/>
                    <a:pt x="233" y="298"/>
                    <a:pt x="242" y="296"/>
                  </a:cubicBezTo>
                  <a:cubicBezTo>
                    <a:pt x="238" y="292"/>
                    <a:pt x="233" y="287"/>
                    <a:pt x="228" y="284"/>
                  </a:cubicBezTo>
                  <a:cubicBezTo>
                    <a:pt x="224" y="281"/>
                    <a:pt x="217" y="282"/>
                    <a:pt x="214" y="277"/>
                  </a:cubicBezTo>
                  <a:cubicBezTo>
                    <a:pt x="210" y="273"/>
                    <a:pt x="211" y="265"/>
                    <a:pt x="209" y="259"/>
                  </a:cubicBezTo>
                  <a:cubicBezTo>
                    <a:pt x="209" y="254"/>
                    <a:pt x="198" y="193"/>
                    <a:pt x="209" y="183"/>
                  </a:cubicBezTo>
                  <a:cubicBezTo>
                    <a:pt x="220" y="174"/>
                    <a:pt x="234" y="179"/>
                    <a:pt x="247" y="177"/>
                  </a:cubicBezTo>
                  <a:cubicBezTo>
                    <a:pt x="252" y="175"/>
                    <a:pt x="257" y="174"/>
                    <a:pt x="261" y="171"/>
                  </a:cubicBezTo>
                  <a:cubicBezTo>
                    <a:pt x="298" y="146"/>
                    <a:pt x="254" y="168"/>
                    <a:pt x="290" y="152"/>
                  </a:cubicBezTo>
                  <a:cubicBezTo>
                    <a:pt x="297" y="154"/>
                    <a:pt x="322" y="165"/>
                    <a:pt x="332" y="152"/>
                  </a:cubicBezTo>
                  <a:lnTo>
                    <a:pt x="332" y="127"/>
                  </a:lnTo>
                  <a:close/>
                </a:path>
              </a:pathLst>
            </a:custGeom>
            <a:noFill/>
            <a:ln w="7938" cap="flat">
              <a:solidFill>
                <a:srgbClr val="4472C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83" name="Freeform 80">
              <a:extLst>
                <a:ext uri="{FF2B5EF4-FFF2-40B4-BE49-F238E27FC236}">
                  <a16:creationId xmlns:a16="http://schemas.microsoft.com/office/drawing/2014/main" id="{00C83A8B-49F6-4C12-AB9B-75AEE0223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" y="232"/>
              <a:ext cx="158" cy="271"/>
            </a:xfrm>
            <a:custGeom>
              <a:avLst/>
              <a:gdLst>
                <a:gd name="T0" fmla="*/ 191 w 494"/>
                <a:gd name="T1" fmla="*/ 181 h 848"/>
                <a:gd name="T2" fmla="*/ 260 w 494"/>
                <a:gd name="T3" fmla="*/ 163 h 848"/>
                <a:gd name="T4" fmla="*/ 279 w 494"/>
                <a:gd name="T5" fmla="*/ 132 h 848"/>
                <a:gd name="T6" fmla="*/ 311 w 494"/>
                <a:gd name="T7" fmla="*/ 44 h 848"/>
                <a:gd name="T8" fmla="*/ 344 w 494"/>
                <a:gd name="T9" fmla="*/ 7 h 848"/>
                <a:gd name="T10" fmla="*/ 363 w 494"/>
                <a:gd name="T11" fmla="*/ 63 h 848"/>
                <a:gd name="T12" fmla="*/ 404 w 494"/>
                <a:gd name="T13" fmla="*/ 113 h 848"/>
                <a:gd name="T14" fmla="*/ 437 w 494"/>
                <a:gd name="T15" fmla="*/ 144 h 848"/>
                <a:gd name="T16" fmla="*/ 395 w 494"/>
                <a:gd name="T17" fmla="*/ 175 h 848"/>
                <a:gd name="T18" fmla="*/ 390 w 494"/>
                <a:gd name="T19" fmla="*/ 238 h 848"/>
                <a:gd name="T20" fmla="*/ 409 w 494"/>
                <a:gd name="T21" fmla="*/ 269 h 848"/>
                <a:gd name="T22" fmla="*/ 451 w 494"/>
                <a:gd name="T23" fmla="*/ 343 h 848"/>
                <a:gd name="T24" fmla="*/ 451 w 494"/>
                <a:gd name="T25" fmla="*/ 368 h 848"/>
                <a:gd name="T26" fmla="*/ 400 w 494"/>
                <a:gd name="T27" fmla="*/ 393 h 848"/>
                <a:gd name="T28" fmla="*/ 381 w 494"/>
                <a:gd name="T29" fmla="*/ 599 h 848"/>
                <a:gd name="T30" fmla="*/ 367 w 494"/>
                <a:gd name="T31" fmla="*/ 668 h 848"/>
                <a:gd name="T32" fmla="*/ 279 w 494"/>
                <a:gd name="T33" fmla="*/ 693 h 848"/>
                <a:gd name="T34" fmla="*/ 237 w 494"/>
                <a:gd name="T35" fmla="*/ 718 h 848"/>
                <a:gd name="T36" fmla="*/ 223 w 494"/>
                <a:gd name="T37" fmla="*/ 761 h 848"/>
                <a:gd name="T38" fmla="*/ 195 w 494"/>
                <a:gd name="T39" fmla="*/ 780 h 848"/>
                <a:gd name="T40" fmla="*/ 112 w 494"/>
                <a:gd name="T41" fmla="*/ 805 h 848"/>
                <a:gd name="T42" fmla="*/ 61 w 494"/>
                <a:gd name="T43" fmla="*/ 848 h 848"/>
                <a:gd name="T44" fmla="*/ 47 w 494"/>
                <a:gd name="T45" fmla="*/ 817 h 848"/>
                <a:gd name="T46" fmla="*/ 14 w 494"/>
                <a:gd name="T47" fmla="*/ 767 h 848"/>
                <a:gd name="T48" fmla="*/ 33 w 494"/>
                <a:gd name="T49" fmla="*/ 749 h 848"/>
                <a:gd name="T50" fmla="*/ 0 w 494"/>
                <a:gd name="T51" fmla="*/ 605 h 848"/>
                <a:gd name="T52" fmla="*/ 28 w 494"/>
                <a:gd name="T53" fmla="*/ 555 h 848"/>
                <a:gd name="T54" fmla="*/ 52 w 494"/>
                <a:gd name="T55" fmla="*/ 531 h 848"/>
                <a:gd name="T56" fmla="*/ 38 w 494"/>
                <a:gd name="T57" fmla="*/ 443 h 848"/>
                <a:gd name="T58" fmla="*/ 47 w 494"/>
                <a:gd name="T59" fmla="*/ 375 h 848"/>
                <a:gd name="T60" fmla="*/ 56 w 494"/>
                <a:gd name="T61" fmla="*/ 331 h 848"/>
                <a:gd name="T62" fmla="*/ 84 w 494"/>
                <a:gd name="T63" fmla="*/ 256 h 848"/>
                <a:gd name="T64" fmla="*/ 126 w 494"/>
                <a:gd name="T65" fmla="*/ 231 h 848"/>
                <a:gd name="T66" fmla="*/ 144 w 494"/>
                <a:gd name="T67" fmla="*/ 200 h 848"/>
                <a:gd name="T68" fmla="*/ 200 w 494"/>
                <a:gd name="T69" fmla="*/ 194 h 848"/>
                <a:gd name="T70" fmla="*/ 251 w 494"/>
                <a:gd name="T71" fmla="*/ 169 h 848"/>
                <a:gd name="T72" fmla="*/ 284 w 494"/>
                <a:gd name="T73" fmla="*/ 132 h 848"/>
                <a:gd name="T74" fmla="*/ 298 w 494"/>
                <a:gd name="T75" fmla="*/ 82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4" h="848">
                  <a:moveTo>
                    <a:pt x="168" y="163"/>
                  </a:moveTo>
                  <a:cubicBezTo>
                    <a:pt x="175" y="169"/>
                    <a:pt x="183" y="176"/>
                    <a:pt x="191" y="181"/>
                  </a:cubicBezTo>
                  <a:cubicBezTo>
                    <a:pt x="211" y="195"/>
                    <a:pt x="225" y="185"/>
                    <a:pt x="251" y="181"/>
                  </a:cubicBezTo>
                  <a:cubicBezTo>
                    <a:pt x="254" y="175"/>
                    <a:pt x="256" y="168"/>
                    <a:pt x="260" y="163"/>
                  </a:cubicBezTo>
                  <a:cubicBezTo>
                    <a:pt x="264" y="157"/>
                    <a:pt x="271" y="156"/>
                    <a:pt x="274" y="150"/>
                  </a:cubicBezTo>
                  <a:cubicBezTo>
                    <a:pt x="277" y="145"/>
                    <a:pt x="277" y="138"/>
                    <a:pt x="279" y="132"/>
                  </a:cubicBezTo>
                  <a:cubicBezTo>
                    <a:pt x="286" y="32"/>
                    <a:pt x="267" y="77"/>
                    <a:pt x="298" y="57"/>
                  </a:cubicBezTo>
                  <a:cubicBezTo>
                    <a:pt x="303" y="53"/>
                    <a:pt x="307" y="48"/>
                    <a:pt x="311" y="44"/>
                  </a:cubicBezTo>
                  <a:cubicBezTo>
                    <a:pt x="314" y="26"/>
                    <a:pt x="312" y="5"/>
                    <a:pt x="330" y="1"/>
                  </a:cubicBezTo>
                  <a:cubicBezTo>
                    <a:pt x="335" y="0"/>
                    <a:pt x="339" y="5"/>
                    <a:pt x="344" y="7"/>
                  </a:cubicBezTo>
                  <a:cubicBezTo>
                    <a:pt x="345" y="21"/>
                    <a:pt x="344" y="37"/>
                    <a:pt x="349" y="50"/>
                  </a:cubicBezTo>
                  <a:cubicBezTo>
                    <a:pt x="351" y="57"/>
                    <a:pt x="360" y="57"/>
                    <a:pt x="363" y="63"/>
                  </a:cubicBezTo>
                  <a:cubicBezTo>
                    <a:pt x="368" y="74"/>
                    <a:pt x="363" y="96"/>
                    <a:pt x="372" y="100"/>
                  </a:cubicBezTo>
                  <a:cubicBezTo>
                    <a:pt x="419" y="121"/>
                    <a:pt x="346" y="89"/>
                    <a:pt x="404" y="113"/>
                  </a:cubicBezTo>
                  <a:cubicBezTo>
                    <a:pt x="414" y="117"/>
                    <a:pt x="432" y="125"/>
                    <a:pt x="432" y="125"/>
                  </a:cubicBezTo>
                  <a:cubicBezTo>
                    <a:pt x="434" y="132"/>
                    <a:pt x="439" y="138"/>
                    <a:pt x="437" y="144"/>
                  </a:cubicBezTo>
                  <a:cubicBezTo>
                    <a:pt x="435" y="150"/>
                    <a:pt x="427" y="147"/>
                    <a:pt x="423" y="150"/>
                  </a:cubicBezTo>
                  <a:cubicBezTo>
                    <a:pt x="413" y="158"/>
                    <a:pt x="395" y="175"/>
                    <a:pt x="395" y="175"/>
                  </a:cubicBezTo>
                  <a:cubicBezTo>
                    <a:pt x="397" y="183"/>
                    <a:pt x="400" y="192"/>
                    <a:pt x="400" y="200"/>
                  </a:cubicBezTo>
                  <a:cubicBezTo>
                    <a:pt x="399" y="213"/>
                    <a:pt x="390" y="238"/>
                    <a:pt x="390" y="238"/>
                  </a:cubicBezTo>
                  <a:cubicBezTo>
                    <a:pt x="392" y="246"/>
                    <a:pt x="391" y="256"/>
                    <a:pt x="395" y="262"/>
                  </a:cubicBezTo>
                  <a:cubicBezTo>
                    <a:pt x="398" y="268"/>
                    <a:pt x="407" y="263"/>
                    <a:pt x="409" y="269"/>
                  </a:cubicBezTo>
                  <a:cubicBezTo>
                    <a:pt x="410" y="272"/>
                    <a:pt x="415" y="328"/>
                    <a:pt x="427" y="337"/>
                  </a:cubicBezTo>
                  <a:cubicBezTo>
                    <a:pt x="434" y="343"/>
                    <a:pt x="443" y="341"/>
                    <a:pt x="451" y="343"/>
                  </a:cubicBezTo>
                  <a:cubicBezTo>
                    <a:pt x="455" y="348"/>
                    <a:pt x="460" y="353"/>
                    <a:pt x="465" y="356"/>
                  </a:cubicBezTo>
                  <a:cubicBezTo>
                    <a:pt x="482" y="367"/>
                    <a:pt x="494" y="359"/>
                    <a:pt x="451" y="368"/>
                  </a:cubicBezTo>
                  <a:cubicBezTo>
                    <a:pt x="448" y="375"/>
                    <a:pt x="447" y="385"/>
                    <a:pt x="441" y="387"/>
                  </a:cubicBezTo>
                  <a:cubicBezTo>
                    <a:pt x="428" y="394"/>
                    <a:pt x="413" y="390"/>
                    <a:pt x="400" y="393"/>
                  </a:cubicBezTo>
                  <a:cubicBezTo>
                    <a:pt x="395" y="394"/>
                    <a:pt x="390" y="398"/>
                    <a:pt x="386" y="400"/>
                  </a:cubicBezTo>
                  <a:cubicBezTo>
                    <a:pt x="384" y="466"/>
                    <a:pt x="385" y="533"/>
                    <a:pt x="381" y="599"/>
                  </a:cubicBezTo>
                  <a:cubicBezTo>
                    <a:pt x="381" y="607"/>
                    <a:pt x="373" y="611"/>
                    <a:pt x="372" y="618"/>
                  </a:cubicBezTo>
                  <a:cubicBezTo>
                    <a:pt x="369" y="634"/>
                    <a:pt x="369" y="651"/>
                    <a:pt x="367" y="668"/>
                  </a:cubicBezTo>
                  <a:cubicBezTo>
                    <a:pt x="366" y="674"/>
                    <a:pt x="367" y="685"/>
                    <a:pt x="363" y="686"/>
                  </a:cubicBezTo>
                  <a:cubicBezTo>
                    <a:pt x="335" y="694"/>
                    <a:pt x="307" y="691"/>
                    <a:pt x="279" y="693"/>
                  </a:cubicBezTo>
                  <a:cubicBezTo>
                    <a:pt x="267" y="695"/>
                    <a:pt x="253" y="692"/>
                    <a:pt x="242" y="699"/>
                  </a:cubicBezTo>
                  <a:cubicBezTo>
                    <a:pt x="237" y="702"/>
                    <a:pt x="239" y="712"/>
                    <a:pt x="237" y="718"/>
                  </a:cubicBezTo>
                  <a:cubicBezTo>
                    <a:pt x="235" y="724"/>
                    <a:pt x="231" y="730"/>
                    <a:pt x="228" y="736"/>
                  </a:cubicBezTo>
                  <a:cubicBezTo>
                    <a:pt x="226" y="745"/>
                    <a:pt x="227" y="754"/>
                    <a:pt x="223" y="761"/>
                  </a:cubicBezTo>
                  <a:cubicBezTo>
                    <a:pt x="220" y="766"/>
                    <a:pt x="214" y="764"/>
                    <a:pt x="209" y="767"/>
                  </a:cubicBezTo>
                  <a:cubicBezTo>
                    <a:pt x="204" y="771"/>
                    <a:pt x="201" y="777"/>
                    <a:pt x="195" y="780"/>
                  </a:cubicBezTo>
                  <a:cubicBezTo>
                    <a:pt x="188" y="784"/>
                    <a:pt x="160" y="796"/>
                    <a:pt x="149" y="799"/>
                  </a:cubicBezTo>
                  <a:cubicBezTo>
                    <a:pt x="137" y="801"/>
                    <a:pt x="124" y="803"/>
                    <a:pt x="112" y="805"/>
                  </a:cubicBezTo>
                  <a:cubicBezTo>
                    <a:pt x="103" y="822"/>
                    <a:pt x="103" y="827"/>
                    <a:pt x="89" y="836"/>
                  </a:cubicBezTo>
                  <a:cubicBezTo>
                    <a:pt x="80" y="841"/>
                    <a:pt x="61" y="848"/>
                    <a:pt x="61" y="848"/>
                  </a:cubicBezTo>
                  <a:cubicBezTo>
                    <a:pt x="59" y="848"/>
                    <a:pt x="24" y="848"/>
                    <a:pt x="33" y="824"/>
                  </a:cubicBezTo>
                  <a:cubicBezTo>
                    <a:pt x="35" y="818"/>
                    <a:pt x="42" y="819"/>
                    <a:pt x="47" y="817"/>
                  </a:cubicBezTo>
                  <a:cubicBezTo>
                    <a:pt x="45" y="805"/>
                    <a:pt x="48" y="789"/>
                    <a:pt x="42" y="780"/>
                  </a:cubicBezTo>
                  <a:cubicBezTo>
                    <a:pt x="36" y="770"/>
                    <a:pt x="14" y="767"/>
                    <a:pt x="14" y="767"/>
                  </a:cubicBezTo>
                  <a:cubicBezTo>
                    <a:pt x="16" y="759"/>
                    <a:pt x="14" y="748"/>
                    <a:pt x="19" y="742"/>
                  </a:cubicBezTo>
                  <a:cubicBezTo>
                    <a:pt x="23" y="739"/>
                    <a:pt x="32" y="755"/>
                    <a:pt x="33" y="749"/>
                  </a:cubicBezTo>
                  <a:cubicBezTo>
                    <a:pt x="36" y="705"/>
                    <a:pt x="38" y="660"/>
                    <a:pt x="28" y="618"/>
                  </a:cubicBezTo>
                  <a:cubicBezTo>
                    <a:pt x="25" y="605"/>
                    <a:pt x="0" y="605"/>
                    <a:pt x="0" y="605"/>
                  </a:cubicBezTo>
                  <a:cubicBezTo>
                    <a:pt x="4" y="590"/>
                    <a:pt x="5" y="580"/>
                    <a:pt x="14" y="568"/>
                  </a:cubicBezTo>
                  <a:cubicBezTo>
                    <a:pt x="18" y="563"/>
                    <a:pt x="23" y="559"/>
                    <a:pt x="28" y="555"/>
                  </a:cubicBezTo>
                  <a:cubicBezTo>
                    <a:pt x="33" y="553"/>
                    <a:pt x="38" y="551"/>
                    <a:pt x="42" y="549"/>
                  </a:cubicBezTo>
                  <a:cubicBezTo>
                    <a:pt x="45" y="543"/>
                    <a:pt x="53" y="538"/>
                    <a:pt x="52" y="531"/>
                  </a:cubicBezTo>
                  <a:cubicBezTo>
                    <a:pt x="49" y="516"/>
                    <a:pt x="33" y="493"/>
                    <a:pt x="33" y="493"/>
                  </a:cubicBezTo>
                  <a:cubicBezTo>
                    <a:pt x="35" y="476"/>
                    <a:pt x="35" y="460"/>
                    <a:pt x="38" y="443"/>
                  </a:cubicBezTo>
                  <a:cubicBezTo>
                    <a:pt x="38" y="437"/>
                    <a:pt x="41" y="431"/>
                    <a:pt x="42" y="425"/>
                  </a:cubicBezTo>
                  <a:cubicBezTo>
                    <a:pt x="44" y="408"/>
                    <a:pt x="45" y="391"/>
                    <a:pt x="47" y="375"/>
                  </a:cubicBezTo>
                  <a:cubicBezTo>
                    <a:pt x="48" y="368"/>
                    <a:pt x="50" y="362"/>
                    <a:pt x="52" y="356"/>
                  </a:cubicBezTo>
                  <a:cubicBezTo>
                    <a:pt x="53" y="348"/>
                    <a:pt x="53" y="339"/>
                    <a:pt x="56" y="331"/>
                  </a:cubicBezTo>
                  <a:cubicBezTo>
                    <a:pt x="61" y="318"/>
                    <a:pt x="71" y="308"/>
                    <a:pt x="75" y="294"/>
                  </a:cubicBezTo>
                  <a:cubicBezTo>
                    <a:pt x="78" y="281"/>
                    <a:pt x="76" y="264"/>
                    <a:pt x="84" y="256"/>
                  </a:cubicBezTo>
                  <a:cubicBezTo>
                    <a:pt x="89" y="252"/>
                    <a:pt x="93" y="247"/>
                    <a:pt x="98" y="244"/>
                  </a:cubicBezTo>
                  <a:cubicBezTo>
                    <a:pt x="107" y="238"/>
                    <a:pt x="118" y="239"/>
                    <a:pt x="126" y="231"/>
                  </a:cubicBezTo>
                  <a:lnTo>
                    <a:pt x="140" y="219"/>
                  </a:lnTo>
                  <a:cubicBezTo>
                    <a:pt x="141" y="213"/>
                    <a:pt x="142" y="206"/>
                    <a:pt x="144" y="200"/>
                  </a:cubicBezTo>
                  <a:cubicBezTo>
                    <a:pt x="148" y="193"/>
                    <a:pt x="152" y="183"/>
                    <a:pt x="158" y="181"/>
                  </a:cubicBezTo>
                  <a:cubicBezTo>
                    <a:pt x="168" y="178"/>
                    <a:pt x="189" y="189"/>
                    <a:pt x="200" y="194"/>
                  </a:cubicBezTo>
                  <a:cubicBezTo>
                    <a:pt x="214" y="192"/>
                    <a:pt x="229" y="194"/>
                    <a:pt x="242" y="188"/>
                  </a:cubicBezTo>
                  <a:cubicBezTo>
                    <a:pt x="247" y="185"/>
                    <a:pt x="247" y="174"/>
                    <a:pt x="251" y="169"/>
                  </a:cubicBezTo>
                  <a:cubicBezTo>
                    <a:pt x="260" y="157"/>
                    <a:pt x="268" y="155"/>
                    <a:pt x="279" y="150"/>
                  </a:cubicBezTo>
                  <a:cubicBezTo>
                    <a:pt x="281" y="144"/>
                    <a:pt x="282" y="138"/>
                    <a:pt x="284" y="132"/>
                  </a:cubicBezTo>
                  <a:cubicBezTo>
                    <a:pt x="286" y="121"/>
                    <a:pt x="285" y="110"/>
                    <a:pt x="288" y="100"/>
                  </a:cubicBezTo>
                  <a:cubicBezTo>
                    <a:pt x="290" y="93"/>
                    <a:pt x="294" y="88"/>
                    <a:pt x="298" y="82"/>
                  </a:cubicBezTo>
                  <a:cubicBezTo>
                    <a:pt x="308" y="26"/>
                    <a:pt x="298" y="44"/>
                    <a:pt x="316" y="19"/>
                  </a:cubicBezTo>
                </a:path>
              </a:pathLst>
            </a:custGeom>
            <a:solidFill>
              <a:srgbClr val="4472C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84" name="Freeform 81">
              <a:extLst>
                <a:ext uri="{FF2B5EF4-FFF2-40B4-BE49-F238E27FC236}">
                  <a16:creationId xmlns:a16="http://schemas.microsoft.com/office/drawing/2014/main" id="{00A4288F-FE23-4FD8-AC02-AE42783FF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" y="232"/>
              <a:ext cx="158" cy="271"/>
            </a:xfrm>
            <a:custGeom>
              <a:avLst/>
              <a:gdLst>
                <a:gd name="T0" fmla="*/ 191 w 494"/>
                <a:gd name="T1" fmla="*/ 181 h 848"/>
                <a:gd name="T2" fmla="*/ 260 w 494"/>
                <a:gd name="T3" fmla="*/ 163 h 848"/>
                <a:gd name="T4" fmla="*/ 279 w 494"/>
                <a:gd name="T5" fmla="*/ 132 h 848"/>
                <a:gd name="T6" fmla="*/ 311 w 494"/>
                <a:gd name="T7" fmla="*/ 44 h 848"/>
                <a:gd name="T8" fmla="*/ 344 w 494"/>
                <a:gd name="T9" fmla="*/ 7 h 848"/>
                <a:gd name="T10" fmla="*/ 363 w 494"/>
                <a:gd name="T11" fmla="*/ 63 h 848"/>
                <a:gd name="T12" fmla="*/ 404 w 494"/>
                <a:gd name="T13" fmla="*/ 113 h 848"/>
                <a:gd name="T14" fmla="*/ 437 w 494"/>
                <a:gd name="T15" fmla="*/ 144 h 848"/>
                <a:gd name="T16" fmla="*/ 395 w 494"/>
                <a:gd name="T17" fmla="*/ 175 h 848"/>
                <a:gd name="T18" fmla="*/ 390 w 494"/>
                <a:gd name="T19" fmla="*/ 238 h 848"/>
                <a:gd name="T20" fmla="*/ 409 w 494"/>
                <a:gd name="T21" fmla="*/ 269 h 848"/>
                <a:gd name="T22" fmla="*/ 451 w 494"/>
                <a:gd name="T23" fmla="*/ 343 h 848"/>
                <a:gd name="T24" fmla="*/ 451 w 494"/>
                <a:gd name="T25" fmla="*/ 368 h 848"/>
                <a:gd name="T26" fmla="*/ 400 w 494"/>
                <a:gd name="T27" fmla="*/ 393 h 848"/>
                <a:gd name="T28" fmla="*/ 381 w 494"/>
                <a:gd name="T29" fmla="*/ 599 h 848"/>
                <a:gd name="T30" fmla="*/ 367 w 494"/>
                <a:gd name="T31" fmla="*/ 668 h 848"/>
                <a:gd name="T32" fmla="*/ 279 w 494"/>
                <a:gd name="T33" fmla="*/ 693 h 848"/>
                <a:gd name="T34" fmla="*/ 237 w 494"/>
                <a:gd name="T35" fmla="*/ 718 h 848"/>
                <a:gd name="T36" fmla="*/ 223 w 494"/>
                <a:gd name="T37" fmla="*/ 761 h 848"/>
                <a:gd name="T38" fmla="*/ 195 w 494"/>
                <a:gd name="T39" fmla="*/ 780 h 848"/>
                <a:gd name="T40" fmla="*/ 112 w 494"/>
                <a:gd name="T41" fmla="*/ 805 h 848"/>
                <a:gd name="T42" fmla="*/ 61 w 494"/>
                <a:gd name="T43" fmla="*/ 848 h 848"/>
                <a:gd name="T44" fmla="*/ 47 w 494"/>
                <a:gd name="T45" fmla="*/ 817 h 848"/>
                <a:gd name="T46" fmla="*/ 14 w 494"/>
                <a:gd name="T47" fmla="*/ 767 h 848"/>
                <a:gd name="T48" fmla="*/ 33 w 494"/>
                <a:gd name="T49" fmla="*/ 749 h 848"/>
                <a:gd name="T50" fmla="*/ 0 w 494"/>
                <a:gd name="T51" fmla="*/ 605 h 848"/>
                <a:gd name="T52" fmla="*/ 28 w 494"/>
                <a:gd name="T53" fmla="*/ 555 h 848"/>
                <a:gd name="T54" fmla="*/ 52 w 494"/>
                <a:gd name="T55" fmla="*/ 531 h 848"/>
                <a:gd name="T56" fmla="*/ 38 w 494"/>
                <a:gd name="T57" fmla="*/ 443 h 848"/>
                <a:gd name="T58" fmla="*/ 47 w 494"/>
                <a:gd name="T59" fmla="*/ 375 h 848"/>
                <a:gd name="T60" fmla="*/ 56 w 494"/>
                <a:gd name="T61" fmla="*/ 331 h 848"/>
                <a:gd name="T62" fmla="*/ 84 w 494"/>
                <a:gd name="T63" fmla="*/ 256 h 848"/>
                <a:gd name="T64" fmla="*/ 126 w 494"/>
                <a:gd name="T65" fmla="*/ 231 h 848"/>
                <a:gd name="T66" fmla="*/ 144 w 494"/>
                <a:gd name="T67" fmla="*/ 200 h 848"/>
                <a:gd name="T68" fmla="*/ 200 w 494"/>
                <a:gd name="T69" fmla="*/ 194 h 848"/>
                <a:gd name="T70" fmla="*/ 251 w 494"/>
                <a:gd name="T71" fmla="*/ 169 h 848"/>
                <a:gd name="T72" fmla="*/ 284 w 494"/>
                <a:gd name="T73" fmla="*/ 132 h 848"/>
                <a:gd name="T74" fmla="*/ 298 w 494"/>
                <a:gd name="T75" fmla="*/ 82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4" h="848">
                  <a:moveTo>
                    <a:pt x="168" y="163"/>
                  </a:moveTo>
                  <a:cubicBezTo>
                    <a:pt x="175" y="169"/>
                    <a:pt x="183" y="176"/>
                    <a:pt x="191" y="181"/>
                  </a:cubicBezTo>
                  <a:cubicBezTo>
                    <a:pt x="211" y="195"/>
                    <a:pt x="225" y="185"/>
                    <a:pt x="251" y="181"/>
                  </a:cubicBezTo>
                  <a:cubicBezTo>
                    <a:pt x="254" y="175"/>
                    <a:pt x="256" y="168"/>
                    <a:pt x="260" y="163"/>
                  </a:cubicBezTo>
                  <a:cubicBezTo>
                    <a:pt x="264" y="157"/>
                    <a:pt x="271" y="156"/>
                    <a:pt x="274" y="150"/>
                  </a:cubicBezTo>
                  <a:cubicBezTo>
                    <a:pt x="277" y="145"/>
                    <a:pt x="277" y="138"/>
                    <a:pt x="279" y="132"/>
                  </a:cubicBezTo>
                  <a:cubicBezTo>
                    <a:pt x="286" y="32"/>
                    <a:pt x="267" y="77"/>
                    <a:pt x="298" y="57"/>
                  </a:cubicBezTo>
                  <a:cubicBezTo>
                    <a:pt x="303" y="53"/>
                    <a:pt x="307" y="48"/>
                    <a:pt x="311" y="44"/>
                  </a:cubicBezTo>
                  <a:cubicBezTo>
                    <a:pt x="314" y="26"/>
                    <a:pt x="312" y="5"/>
                    <a:pt x="330" y="1"/>
                  </a:cubicBezTo>
                  <a:cubicBezTo>
                    <a:pt x="335" y="0"/>
                    <a:pt x="339" y="5"/>
                    <a:pt x="344" y="7"/>
                  </a:cubicBezTo>
                  <a:cubicBezTo>
                    <a:pt x="345" y="21"/>
                    <a:pt x="344" y="37"/>
                    <a:pt x="349" y="50"/>
                  </a:cubicBezTo>
                  <a:cubicBezTo>
                    <a:pt x="351" y="57"/>
                    <a:pt x="360" y="57"/>
                    <a:pt x="363" y="63"/>
                  </a:cubicBezTo>
                  <a:cubicBezTo>
                    <a:pt x="368" y="74"/>
                    <a:pt x="363" y="96"/>
                    <a:pt x="372" y="100"/>
                  </a:cubicBezTo>
                  <a:cubicBezTo>
                    <a:pt x="419" y="121"/>
                    <a:pt x="346" y="89"/>
                    <a:pt x="404" y="113"/>
                  </a:cubicBezTo>
                  <a:cubicBezTo>
                    <a:pt x="414" y="117"/>
                    <a:pt x="432" y="125"/>
                    <a:pt x="432" y="125"/>
                  </a:cubicBezTo>
                  <a:cubicBezTo>
                    <a:pt x="434" y="132"/>
                    <a:pt x="439" y="138"/>
                    <a:pt x="437" y="144"/>
                  </a:cubicBezTo>
                  <a:cubicBezTo>
                    <a:pt x="435" y="150"/>
                    <a:pt x="427" y="147"/>
                    <a:pt x="423" y="150"/>
                  </a:cubicBezTo>
                  <a:cubicBezTo>
                    <a:pt x="413" y="158"/>
                    <a:pt x="395" y="175"/>
                    <a:pt x="395" y="175"/>
                  </a:cubicBezTo>
                  <a:cubicBezTo>
                    <a:pt x="397" y="183"/>
                    <a:pt x="400" y="192"/>
                    <a:pt x="400" y="200"/>
                  </a:cubicBezTo>
                  <a:cubicBezTo>
                    <a:pt x="399" y="213"/>
                    <a:pt x="390" y="238"/>
                    <a:pt x="390" y="238"/>
                  </a:cubicBezTo>
                  <a:cubicBezTo>
                    <a:pt x="392" y="246"/>
                    <a:pt x="391" y="256"/>
                    <a:pt x="395" y="262"/>
                  </a:cubicBezTo>
                  <a:cubicBezTo>
                    <a:pt x="398" y="268"/>
                    <a:pt x="407" y="263"/>
                    <a:pt x="409" y="269"/>
                  </a:cubicBezTo>
                  <a:cubicBezTo>
                    <a:pt x="410" y="272"/>
                    <a:pt x="415" y="328"/>
                    <a:pt x="427" y="337"/>
                  </a:cubicBezTo>
                  <a:cubicBezTo>
                    <a:pt x="434" y="343"/>
                    <a:pt x="443" y="341"/>
                    <a:pt x="451" y="343"/>
                  </a:cubicBezTo>
                  <a:cubicBezTo>
                    <a:pt x="455" y="348"/>
                    <a:pt x="460" y="353"/>
                    <a:pt x="465" y="356"/>
                  </a:cubicBezTo>
                  <a:cubicBezTo>
                    <a:pt x="482" y="367"/>
                    <a:pt x="494" y="359"/>
                    <a:pt x="451" y="368"/>
                  </a:cubicBezTo>
                  <a:cubicBezTo>
                    <a:pt x="448" y="375"/>
                    <a:pt x="447" y="385"/>
                    <a:pt x="441" y="387"/>
                  </a:cubicBezTo>
                  <a:cubicBezTo>
                    <a:pt x="428" y="394"/>
                    <a:pt x="413" y="390"/>
                    <a:pt x="400" y="393"/>
                  </a:cubicBezTo>
                  <a:cubicBezTo>
                    <a:pt x="395" y="394"/>
                    <a:pt x="390" y="398"/>
                    <a:pt x="386" y="400"/>
                  </a:cubicBezTo>
                  <a:cubicBezTo>
                    <a:pt x="384" y="466"/>
                    <a:pt x="385" y="533"/>
                    <a:pt x="381" y="599"/>
                  </a:cubicBezTo>
                  <a:cubicBezTo>
                    <a:pt x="381" y="607"/>
                    <a:pt x="373" y="611"/>
                    <a:pt x="372" y="618"/>
                  </a:cubicBezTo>
                  <a:cubicBezTo>
                    <a:pt x="369" y="634"/>
                    <a:pt x="369" y="651"/>
                    <a:pt x="367" y="668"/>
                  </a:cubicBezTo>
                  <a:cubicBezTo>
                    <a:pt x="366" y="674"/>
                    <a:pt x="367" y="685"/>
                    <a:pt x="363" y="686"/>
                  </a:cubicBezTo>
                  <a:cubicBezTo>
                    <a:pt x="335" y="694"/>
                    <a:pt x="307" y="691"/>
                    <a:pt x="279" y="693"/>
                  </a:cubicBezTo>
                  <a:cubicBezTo>
                    <a:pt x="267" y="695"/>
                    <a:pt x="253" y="692"/>
                    <a:pt x="242" y="699"/>
                  </a:cubicBezTo>
                  <a:cubicBezTo>
                    <a:pt x="237" y="702"/>
                    <a:pt x="239" y="712"/>
                    <a:pt x="237" y="718"/>
                  </a:cubicBezTo>
                  <a:cubicBezTo>
                    <a:pt x="235" y="724"/>
                    <a:pt x="231" y="730"/>
                    <a:pt x="228" y="736"/>
                  </a:cubicBezTo>
                  <a:cubicBezTo>
                    <a:pt x="226" y="745"/>
                    <a:pt x="227" y="754"/>
                    <a:pt x="223" y="761"/>
                  </a:cubicBezTo>
                  <a:cubicBezTo>
                    <a:pt x="220" y="766"/>
                    <a:pt x="214" y="764"/>
                    <a:pt x="209" y="767"/>
                  </a:cubicBezTo>
                  <a:cubicBezTo>
                    <a:pt x="204" y="771"/>
                    <a:pt x="201" y="777"/>
                    <a:pt x="195" y="780"/>
                  </a:cubicBezTo>
                  <a:cubicBezTo>
                    <a:pt x="188" y="784"/>
                    <a:pt x="160" y="796"/>
                    <a:pt x="149" y="799"/>
                  </a:cubicBezTo>
                  <a:cubicBezTo>
                    <a:pt x="137" y="801"/>
                    <a:pt x="124" y="803"/>
                    <a:pt x="112" y="805"/>
                  </a:cubicBezTo>
                  <a:cubicBezTo>
                    <a:pt x="103" y="822"/>
                    <a:pt x="103" y="827"/>
                    <a:pt x="89" y="836"/>
                  </a:cubicBezTo>
                  <a:cubicBezTo>
                    <a:pt x="80" y="841"/>
                    <a:pt x="61" y="848"/>
                    <a:pt x="61" y="848"/>
                  </a:cubicBezTo>
                  <a:cubicBezTo>
                    <a:pt x="59" y="848"/>
                    <a:pt x="24" y="848"/>
                    <a:pt x="33" y="824"/>
                  </a:cubicBezTo>
                  <a:cubicBezTo>
                    <a:pt x="35" y="818"/>
                    <a:pt x="42" y="819"/>
                    <a:pt x="47" y="817"/>
                  </a:cubicBezTo>
                  <a:cubicBezTo>
                    <a:pt x="45" y="805"/>
                    <a:pt x="48" y="789"/>
                    <a:pt x="42" y="780"/>
                  </a:cubicBezTo>
                  <a:cubicBezTo>
                    <a:pt x="36" y="770"/>
                    <a:pt x="14" y="767"/>
                    <a:pt x="14" y="767"/>
                  </a:cubicBezTo>
                  <a:cubicBezTo>
                    <a:pt x="16" y="759"/>
                    <a:pt x="14" y="748"/>
                    <a:pt x="19" y="742"/>
                  </a:cubicBezTo>
                  <a:cubicBezTo>
                    <a:pt x="23" y="739"/>
                    <a:pt x="32" y="755"/>
                    <a:pt x="33" y="749"/>
                  </a:cubicBezTo>
                  <a:cubicBezTo>
                    <a:pt x="36" y="705"/>
                    <a:pt x="38" y="660"/>
                    <a:pt x="28" y="618"/>
                  </a:cubicBezTo>
                  <a:cubicBezTo>
                    <a:pt x="25" y="605"/>
                    <a:pt x="0" y="605"/>
                    <a:pt x="0" y="605"/>
                  </a:cubicBezTo>
                  <a:cubicBezTo>
                    <a:pt x="4" y="590"/>
                    <a:pt x="5" y="580"/>
                    <a:pt x="14" y="568"/>
                  </a:cubicBezTo>
                  <a:cubicBezTo>
                    <a:pt x="18" y="563"/>
                    <a:pt x="23" y="559"/>
                    <a:pt x="28" y="555"/>
                  </a:cubicBezTo>
                  <a:cubicBezTo>
                    <a:pt x="33" y="553"/>
                    <a:pt x="38" y="551"/>
                    <a:pt x="42" y="549"/>
                  </a:cubicBezTo>
                  <a:cubicBezTo>
                    <a:pt x="45" y="543"/>
                    <a:pt x="53" y="538"/>
                    <a:pt x="52" y="531"/>
                  </a:cubicBezTo>
                  <a:cubicBezTo>
                    <a:pt x="49" y="516"/>
                    <a:pt x="33" y="493"/>
                    <a:pt x="33" y="493"/>
                  </a:cubicBezTo>
                  <a:cubicBezTo>
                    <a:pt x="35" y="476"/>
                    <a:pt x="35" y="460"/>
                    <a:pt x="38" y="443"/>
                  </a:cubicBezTo>
                  <a:cubicBezTo>
                    <a:pt x="38" y="437"/>
                    <a:pt x="41" y="431"/>
                    <a:pt x="42" y="425"/>
                  </a:cubicBezTo>
                  <a:cubicBezTo>
                    <a:pt x="44" y="408"/>
                    <a:pt x="45" y="391"/>
                    <a:pt x="47" y="375"/>
                  </a:cubicBezTo>
                  <a:cubicBezTo>
                    <a:pt x="48" y="368"/>
                    <a:pt x="50" y="362"/>
                    <a:pt x="52" y="356"/>
                  </a:cubicBezTo>
                  <a:cubicBezTo>
                    <a:pt x="53" y="348"/>
                    <a:pt x="53" y="339"/>
                    <a:pt x="56" y="331"/>
                  </a:cubicBezTo>
                  <a:cubicBezTo>
                    <a:pt x="61" y="318"/>
                    <a:pt x="71" y="308"/>
                    <a:pt x="75" y="294"/>
                  </a:cubicBezTo>
                  <a:cubicBezTo>
                    <a:pt x="78" y="281"/>
                    <a:pt x="76" y="264"/>
                    <a:pt x="84" y="256"/>
                  </a:cubicBezTo>
                  <a:cubicBezTo>
                    <a:pt x="89" y="252"/>
                    <a:pt x="93" y="247"/>
                    <a:pt x="98" y="244"/>
                  </a:cubicBezTo>
                  <a:cubicBezTo>
                    <a:pt x="107" y="238"/>
                    <a:pt x="118" y="239"/>
                    <a:pt x="126" y="231"/>
                  </a:cubicBezTo>
                  <a:lnTo>
                    <a:pt x="140" y="219"/>
                  </a:lnTo>
                  <a:cubicBezTo>
                    <a:pt x="141" y="213"/>
                    <a:pt x="142" y="206"/>
                    <a:pt x="144" y="200"/>
                  </a:cubicBezTo>
                  <a:cubicBezTo>
                    <a:pt x="148" y="193"/>
                    <a:pt x="152" y="183"/>
                    <a:pt x="158" y="181"/>
                  </a:cubicBezTo>
                  <a:cubicBezTo>
                    <a:pt x="168" y="178"/>
                    <a:pt x="189" y="189"/>
                    <a:pt x="200" y="194"/>
                  </a:cubicBezTo>
                  <a:cubicBezTo>
                    <a:pt x="214" y="192"/>
                    <a:pt x="229" y="194"/>
                    <a:pt x="242" y="188"/>
                  </a:cubicBezTo>
                  <a:cubicBezTo>
                    <a:pt x="247" y="185"/>
                    <a:pt x="247" y="174"/>
                    <a:pt x="251" y="169"/>
                  </a:cubicBezTo>
                  <a:cubicBezTo>
                    <a:pt x="260" y="157"/>
                    <a:pt x="268" y="155"/>
                    <a:pt x="279" y="150"/>
                  </a:cubicBezTo>
                  <a:cubicBezTo>
                    <a:pt x="281" y="144"/>
                    <a:pt x="282" y="138"/>
                    <a:pt x="284" y="132"/>
                  </a:cubicBezTo>
                  <a:cubicBezTo>
                    <a:pt x="286" y="121"/>
                    <a:pt x="285" y="110"/>
                    <a:pt x="288" y="100"/>
                  </a:cubicBezTo>
                  <a:cubicBezTo>
                    <a:pt x="290" y="93"/>
                    <a:pt x="294" y="88"/>
                    <a:pt x="298" y="82"/>
                  </a:cubicBezTo>
                  <a:cubicBezTo>
                    <a:pt x="308" y="26"/>
                    <a:pt x="298" y="44"/>
                    <a:pt x="316" y="19"/>
                  </a:cubicBezTo>
                </a:path>
              </a:pathLst>
            </a:custGeom>
            <a:noFill/>
            <a:ln w="7938" cap="flat">
              <a:solidFill>
                <a:srgbClr val="4472C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1A07E08F-4139-4330-8E5B-E77E9A2A34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" y="18"/>
              <a:ext cx="24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666C438E-9C9F-4677-A733-7D2313F063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" y="18"/>
              <a:ext cx="245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4408F5B6-DD6F-4634-87E5-FDB09DD73E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1" y="799"/>
              <a:ext cx="281" cy="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94E7B416-A190-4AAA-9691-B7CF964F87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1" y="799"/>
              <a:ext cx="281" cy="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0FED7503-3C1E-40E1-A60E-167BAF904C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" y="2212"/>
              <a:ext cx="266" cy="2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B3557F69-FAD2-4A8F-A72B-7DD0AEFE47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" y="2212"/>
              <a:ext cx="266" cy="2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8269BB11-3912-486F-9AC1-B3536A6DB4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" y="1931"/>
              <a:ext cx="272" cy="2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5455A264-E1DE-4ADB-85EF-B98CEEC390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" y="1931"/>
              <a:ext cx="272" cy="2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878595BE-D920-4A7F-96F7-1210C04BB1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" y="1258"/>
              <a:ext cx="261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92A8DAA0-568C-4BF4-AE4F-9E89020E0C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" y="1258"/>
              <a:ext cx="261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4119ABFE-4605-493A-B15B-FBC0FCD1E2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9" y="625"/>
              <a:ext cx="251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B0C0938C-ED55-4679-974C-43415B5C3B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9" y="625"/>
              <a:ext cx="251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7" name="Picture 97">
              <a:extLst>
                <a:ext uri="{FF2B5EF4-FFF2-40B4-BE49-F238E27FC236}">
                  <a16:creationId xmlns:a16="http://schemas.microsoft.com/office/drawing/2014/main" id="{C7CAE75A-F24F-4B04-BDD2-2909604392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" y="889"/>
              <a:ext cx="255" cy="2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8" name="Picture 98">
              <a:extLst>
                <a:ext uri="{FF2B5EF4-FFF2-40B4-BE49-F238E27FC236}">
                  <a16:creationId xmlns:a16="http://schemas.microsoft.com/office/drawing/2014/main" id="{6EC3BE8A-946A-4B7E-9A59-815FCC6F43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4" y="1089"/>
              <a:ext cx="230" cy="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9" name="Picture 99">
              <a:extLst>
                <a:ext uri="{FF2B5EF4-FFF2-40B4-BE49-F238E27FC236}">
                  <a16:creationId xmlns:a16="http://schemas.microsoft.com/office/drawing/2014/main" id="{B459E040-1DD6-48DE-8093-265C253EF3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4" y="1089"/>
              <a:ext cx="230" cy="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0" name="Rectangle 100">
              <a:extLst>
                <a:ext uri="{FF2B5EF4-FFF2-40B4-BE49-F238E27FC236}">
                  <a16:creationId xmlns:a16="http://schemas.microsoft.com/office/drawing/2014/main" id="{DB597233-CBB0-4D7B-B492-8447FC10F2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1" y="739"/>
              <a:ext cx="291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CO" altLang="es-CO" sz="10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Guajira</a:t>
              </a:r>
              <a:endPara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1" name="Rectangle 101">
              <a:extLst>
                <a:ext uri="{FF2B5EF4-FFF2-40B4-BE49-F238E27FC236}">
                  <a16:creationId xmlns:a16="http://schemas.microsoft.com/office/drawing/2014/main" id="{DA1739A2-7532-4005-B7E4-BCFF142B2E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1" y="766"/>
              <a:ext cx="466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CO" altLang="es-CO" sz="10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Santa Marta</a:t>
              </a:r>
              <a:endPara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2" name="Rectangle 103">
              <a:extLst>
                <a:ext uri="{FF2B5EF4-FFF2-40B4-BE49-F238E27FC236}">
                  <a16:creationId xmlns:a16="http://schemas.microsoft.com/office/drawing/2014/main" id="{57F7B00A-7C0A-4ADE-960A-1C75803028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" y="842"/>
              <a:ext cx="389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CO" altLang="es-CO" sz="10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Cartagena</a:t>
              </a:r>
              <a:endPara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" name="Rectangle 104">
              <a:extLst>
                <a:ext uri="{FF2B5EF4-FFF2-40B4-BE49-F238E27FC236}">
                  <a16:creationId xmlns:a16="http://schemas.microsoft.com/office/drawing/2014/main" id="{9C83BF88-C620-453F-9395-5B2C5CB2A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" y="1059"/>
              <a:ext cx="353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CO" altLang="es-CO" sz="10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Golfo de </a:t>
              </a:r>
              <a:endPara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4" name="Rectangle 105">
              <a:extLst>
                <a:ext uri="{FF2B5EF4-FFF2-40B4-BE49-F238E27FC236}">
                  <a16:creationId xmlns:a16="http://schemas.microsoft.com/office/drawing/2014/main" id="{2C2B2413-BEF1-44F2-918C-29A73E7BAB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" y="1146"/>
              <a:ext cx="491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CO" altLang="es-CO" sz="10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orrosquillo</a:t>
              </a:r>
              <a:endPara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" name="Rectangle 106">
              <a:extLst>
                <a:ext uri="{FF2B5EF4-FFF2-40B4-BE49-F238E27FC236}">
                  <a16:creationId xmlns:a16="http://schemas.microsoft.com/office/drawing/2014/main" id="{EBFFC999-A29A-4A18-B8F5-10BB210A0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" y="1359"/>
              <a:ext cx="245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CO" altLang="es-CO" sz="10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Turbo</a:t>
              </a:r>
              <a:endPara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6" name="Rectangle 107">
              <a:extLst>
                <a:ext uri="{FF2B5EF4-FFF2-40B4-BE49-F238E27FC236}">
                  <a16:creationId xmlns:a16="http://schemas.microsoft.com/office/drawing/2014/main" id="{DE1B6B95-4108-4055-A5CC-2C003258DD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" y="1893"/>
              <a:ext cx="527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CO" altLang="es-CO" sz="10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uenaventura</a:t>
              </a:r>
              <a:endPara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7" name="Rectangle 108">
              <a:extLst>
                <a:ext uri="{FF2B5EF4-FFF2-40B4-BE49-F238E27FC236}">
                  <a16:creationId xmlns:a16="http://schemas.microsoft.com/office/drawing/2014/main" id="{293D86FB-E705-4098-84DF-7BA862DFFD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" y="2149"/>
              <a:ext cx="317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CO" altLang="es-CO" sz="10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Tumaco</a:t>
              </a:r>
              <a:endPara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8" name="Rectangle 109">
              <a:extLst>
                <a:ext uri="{FF2B5EF4-FFF2-40B4-BE49-F238E27FC236}">
                  <a16:creationId xmlns:a16="http://schemas.microsoft.com/office/drawing/2014/main" id="{AEBFE6D6-5B7E-4E96-9939-4A4D784410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" y="53"/>
              <a:ext cx="430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CO" altLang="es-CO" sz="10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San Andrés</a:t>
              </a:r>
              <a:endParaRPr kumimoji="0" lang="es-CO" altLang="es-CO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6317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46" imgH="343" progId="TCLayout.ActiveDocument.1">
                  <p:embed/>
                </p:oleObj>
              </mc:Choice>
              <mc:Fallback>
                <p:oleObj name="Diapositiva de think-cell" r:id="rId4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D9003CB5-A5A0-4CA0-8159-4C3092DF4DB9}"/>
              </a:ext>
            </a:extLst>
          </p:cNvPr>
          <p:cNvSpPr txBox="1">
            <a:spLocks/>
          </p:cNvSpPr>
          <p:nvPr/>
        </p:nvSpPr>
        <p:spPr>
          <a:xfrm>
            <a:off x="1928959" y="140297"/>
            <a:ext cx="6029893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FFFFFF"/>
              </a:buClr>
              <a:buSzPts val="1400"/>
              <a:buFont typeface="Work Sans Light"/>
              <a:buNone/>
              <a:defRPr sz="2400" b="1">
                <a:solidFill>
                  <a:srgbClr val="0054BC"/>
                </a:solidFill>
                <a:latin typeface="+mn-lt"/>
                <a:ea typeface="Work Sans"/>
                <a:cs typeface="Work Sans"/>
              </a:defRPr>
            </a:lvl1pPr>
            <a:lvl2pPr marL="914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2pPr>
            <a:lvl3pPr marL="1371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3pPr>
            <a:lvl4pPr marL="1828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4pPr>
            <a:lvl5pPr marL="22860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5pPr>
            <a:lvl6pPr marL="27432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6pPr>
            <a:lvl7pPr marL="3200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7pPr>
            <a:lvl8pPr marL="3657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8pPr>
            <a:lvl9pPr marL="4114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9pPr>
          </a:lstStyle>
          <a:p>
            <a:r>
              <a:rPr lang="es-ES"/>
              <a:t>Evolución Inversiones (2010-2021)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1B30295-4C40-4E3D-9FAB-2EBC83E5EFFA}"/>
              </a:ext>
            </a:extLst>
          </p:cNvPr>
          <p:cNvSpPr txBox="1"/>
          <p:nvPr/>
        </p:nvSpPr>
        <p:spPr>
          <a:xfrm>
            <a:off x="569285" y="3902543"/>
            <a:ext cx="335784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>
                <a:solidFill>
                  <a:srgbClr val="023F7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illones de Dólares.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9455CC2E-3475-4BDB-B1BC-EEFB4451B743}"/>
              </a:ext>
            </a:extLst>
          </p:cNvPr>
          <p:cNvSpPr txBox="1"/>
          <p:nvPr/>
        </p:nvSpPr>
        <p:spPr>
          <a:xfrm>
            <a:off x="569285" y="4090120"/>
            <a:ext cx="4572000" cy="25391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050">
                <a:solidFill>
                  <a:srgbClr val="023F7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>
                <a:latin typeface="Arial"/>
                <a:cs typeface="Arial"/>
              </a:rPr>
              <a:t>* Año 2021 en ejecución.</a:t>
            </a:r>
          </a:p>
        </p:txBody>
      </p:sp>
      <p:pic>
        <p:nvPicPr>
          <p:cNvPr id="2" name="Imagen 2" descr="Gráfico, Gráfico de barras&#10;&#10;Descripción generada automáticamente">
            <a:extLst>
              <a:ext uri="{FF2B5EF4-FFF2-40B4-BE49-F238E27FC236}">
                <a16:creationId xmlns:a16="http://schemas.microsoft.com/office/drawing/2014/main" id="{47F7B29C-B0CA-4A1F-8174-382C00FB6B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5070" y="806487"/>
            <a:ext cx="8458199" cy="3099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964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46" imgH="343" progId="TCLayout.ActiveDocument.1">
                  <p:embed/>
                </p:oleObj>
              </mc:Choice>
              <mc:Fallback>
                <p:oleObj name="Diapositiva de think-cell" r:id="rId4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D9003CB5-A5A0-4CA0-8159-4C3092DF4DB9}"/>
              </a:ext>
            </a:extLst>
          </p:cNvPr>
          <p:cNvSpPr txBox="1">
            <a:spLocks/>
          </p:cNvSpPr>
          <p:nvPr/>
        </p:nvSpPr>
        <p:spPr>
          <a:xfrm>
            <a:off x="1747530" y="89495"/>
            <a:ext cx="6029893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FFFFFF"/>
              </a:buClr>
              <a:buSzPts val="1400"/>
              <a:buFont typeface="Work Sans Light"/>
              <a:buNone/>
              <a:defRPr sz="2400" b="1">
                <a:solidFill>
                  <a:srgbClr val="0054BC"/>
                </a:solidFill>
                <a:latin typeface="+mn-lt"/>
                <a:ea typeface="Work Sans"/>
                <a:cs typeface="Work Sans"/>
              </a:defRPr>
            </a:lvl1pPr>
            <a:lvl2pPr marL="914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2pPr>
            <a:lvl3pPr marL="1371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3pPr>
            <a:lvl4pPr marL="1828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4pPr>
            <a:lvl5pPr marL="22860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5pPr>
            <a:lvl6pPr marL="27432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6pPr>
            <a:lvl7pPr marL="3200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7pPr>
            <a:lvl8pPr marL="3657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8pPr>
            <a:lvl9pPr marL="4114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9pPr>
          </a:lstStyle>
          <a:p>
            <a:r>
              <a:rPr lang="es-ES"/>
              <a:t>Inversiones programadas - Año 2021</a:t>
            </a:r>
          </a:p>
        </p:txBody>
      </p:sp>
      <p:pic>
        <p:nvPicPr>
          <p:cNvPr id="7" name="Imagen 7" descr="Tabla&#10;&#10;Descripción generada automáticamente">
            <a:extLst>
              <a:ext uri="{FF2B5EF4-FFF2-40B4-BE49-F238E27FC236}">
                <a16:creationId xmlns:a16="http://schemas.microsoft.com/office/drawing/2014/main" id="{1922EE4D-ACB4-433A-A587-B52CF00636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27" y="845824"/>
            <a:ext cx="9083614" cy="3473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633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46" imgH="343" progId="TCLayout.ActiveDocument.1">
                  <p:embed/>
                </p:oleObj>
              </mc:Choice>
              <mc:Fallback>
                <p:oleObj name="Diapositiva de think-cell" r:id="rId4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D9003CB5-A5A0-4CA0-8159-4C3092DF4DB9}"/>
              </a:ext>
            </a:extLst>
          </p:cNvPr>
          <p:cNvSpPr txBox="1">
            <a:spLocks/>
          </p:cNvSpPr>
          <p:nvPr/>
        </p:nvSpPr>
        <p:spPr>
          <a:xfrm>
            <a:off x="2491810" y="113446"/>
            <a:ext cx="4286362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FFFFFF"/>
              </a:buClr>
              <a:buSzPts val="1400"/>
              <a:buFont typeface="Work Sans Light"/>
              <a:buNone/>
              <a:defRPr sz="2400" b="1">
                <a:solidFill>
                  <a:srgbClr val="0054BC"/>
                </a:solidFill>
                <a:latin typeface="+mn-lt"/>
                <a:ea typeface="Work Sans"/>
                <a:cs typeface="Work Sans"/>
              </a:defRPr>
            </a:lvl1pPr>
            <a:lvl2pPr marL="914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2pPr>
            <a:lvl3pPr marL="1371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3pPr>
            <a:lvl4pPr marL="1828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4pPr>
            <a:lvl5pPr marL="22860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5pPr>
            <a:lvl6pPr marL="27432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6pPr>
            <a:lvl7pPr marL="3200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7pPr>
            <a:lvl8pPr marL="3657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8pPr>
            <a:lvl9pPr marL="4114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9pPr>
          </a:lstStyle>
          <a:p>
            <a:r>
              <a:rPr lang="es-ES"/>
              <a:t>Toneladas Movilizada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1B30295-4C40-4E3D-9FAB-2EBC83E5EFFA}"/>
              </a:ext>
            </a:extLst>
          </p:cNvPr>
          <p:cNvSpPr txBox="1"/>
          <p:nvPr/>
        </p:nvSpPr>
        <p:spPr>
          <a:xfrm>
            <a:off x="93039" y="4704323"/>
            <a:ext cx="8968125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ES" sz="1000">
                <a:solidFill>
                  <a:srgbClr val="023F7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* Año 2021 (Primer semestre 2021).</a:t>
            </a:r>
          </a:p>
          <a:p>
            <a:r>
              <a:rPr lang="es-ES" sz="1000">
                <a:solidFill>
                  <a:srgbClr val="023F7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uente: </a:t>
            </a:r>
            <a:r>
              <a:rPr lang="es-ES" sz="1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ttps://www.supertransporte.gov.co/documentos/2021/Agosto/Puertos_05/BOLETIN-TRAFICO-PORTUARIO-I-SEMESTRE-2021.pdf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E49C55D-C34A-48AD-8FD8-AFFCB6E4C351}"/>
              </a:ext>
            </a:extLst>
          </p:cNvPr>
          <p:cNvSpPr txBox="1"/>
          <p:nvPr/>
        </p:nvSpPr>
        <p:spPr>
          <a:xfrm>
            <a:off x="495497" y="4073328"/>
            <a:ext cx="335784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>
                <a:solidFill>
                  <a:srgbClr val="023F7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illones de Toneladas.</a:t>
            </a:r>
          </a:p>
        </p:txBody>
      </p:sp>
      <p:pic>
        <p:nvPicPr>
          <p:cNvPr id="2" name="Imagen 2" descr="Gráfico, Gráfico de barras&#10;&#10;Descripción generada automáticamente">
            <a:extLst>
              <a:ext uri="{FF2B5EF4-FFF2-40B4-BE49-F238E27FC236}">
                <a16:creationId xmlns:a16="http://schemas.microsoft.com/office/drawing/2014/main" id="{35B34A05-E623-4380-A124-0CD618C5EF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1938" y="826228"/>
            <a:ext cx="8598378" cy="3253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409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5E88DDE9-3E1E-426C-9BDA-1F8696FA0A98}"/>
              </a:ext>
            </a:extLst>
          </p:cNvPr>
          <p:cNvSpPr txBox="1">
            <a:spLocks/>
          </p:cNvSpPr>
          <p:nvPr/>
        </p:nvSpPr>
        <p:spPr>
          <a:xfrm>
            <a:off x="3979101" y="159081"/>
            <a:ext cx="1249670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FFFFFF"/>
              </a:buClr>
              <a:buSzPts val="1400"/>
              <a:buFont typeface="Work Sans Light"/>
              <a:buNone/>
              <a:defRPr sz="2400" b="1">
                <a:solidFill>
                  <a:srgbClr val="0054BC"/>
                </a:solidFill>
                <a:latin typeface="+mn-lt"/>
                <a:ea typeface="Work Sans"/>
                <a:cs typeface="Work Sans"/>
              </a:defRPr>
            </a:lvl1pPr>
            <a:lvl2pPr marL="914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2pPr>
            <a:lvl3pPr marL="1371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3pPr>
            <a:lvl4pPr marL="1828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4pPr>
            <a:lvl5pPr marL="22860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5pPr>
            <a:lvl6pPr marL="27432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6pPr>
            <a:lvl7pPr marL="3200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7pPr>
            <a:lvl8pPr marL="3657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8pPr>
            <a:lvl9pPr marL="4114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9pPr>
          </a:lstStyle>
          <a:p>
            <a:r>
              <a:rPr lang="es-ES"/>
              <a:t>Logros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3E088BDF-2A66-48AF-AA69-495149FCAA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67394"/>
              </p:ext>
            </p:extLst>
          </p:nvPr>
        </p:nvGraphicFramePr>
        <p:xfrm>
          <a:off x="606704" y="918061"/>
          <a:ext cx="7994464" cy="3592542"/>
        </p:xfrm>
        <a:graphic>
          <a:graphicData uri="http://schemas.openxmlformats.org/drawingml/2006/table">
            <a:tbl>
              <a:tblPr firstRow="1" bandRow="1"/>
              <a:tblGrid>
                <a:gridCol w="7994464">
                  <a:extLst>
                    <a:ext uri="{9D8B030D-6E8A-4147-A177-3AD203B41FA5}">
                      <a16:colId xmlns:a16="http://schemas.microsoft.com/office/drawing/2014/main" val="3841795752"/>
                    </a:ext>
                  </a:extLst>
                </a:gridCol>
              </a:tblGrid>
              <a:tr h="197993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es-CO" sz="1200" dirty="0">
                        <a:latin typeface="Work Sans"/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655337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lvl="0" indent="0" algn="just"/>
                      <a:r>
                        <a:rPr lang="es-CO" sz="1200" b="0" dirty="0">
                          <a:solidFill>
                            <a:schemeClr val="bg2"/>
                          </a:solidFill>
                        </a:rPr>
                        <a:t>Actualmente las concesiones se encuentran culminando el proceso de modernización de sus terminales portuarios, lo cual se encuentra evidenciado con la ejecución de inversiones de las sociedades portuarias.</a:t>
                      </a: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538781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CO" sz="1200" b="0" dirty="0">
                          <a:solidFill>
                            <a:schemeClr val="bg2"/>
                          </a:solidFill>
                        </a:rPr>
                        <a:t>Aumento en la capacidad de carga de los puertos colombianos con un crecimiento de 286 millones de toneladas en 2010 a 445 millones de toneladas en 2021 y unas inversiones para el periodo (2011-2021), que ascienden a la suma de $ 4,3 billones Aprox.</a:t>
                      </a: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93666"/>
                  </a:ext>
                </a:extLst>
              </a:tr>
              <a:tr h="48572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CO" sz="1200" b="0" dirty="0">
                          <a:solidFill>
                            <a:schemeClr val="bg2"/>
                          </a:solidFill>
                        </a:rPr>
                        <a:t>La Agencia ha </a:t>
                      </a:r>
                      <a:r>
                        <a:rPr lang="es-CO" sz="1200" b="0" i="0" u="none" strike="noStrike" cap="none" dirty="0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otorgado </a:t>
                      </a:r>
                      <a:r>
                        <a:rPr lang="es-CO" sz="1200" b="0" i="0" u="none" strike="noStrike" cap="none" dirty="0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</a:rPr>
                        <a:t>27</a:t>
                      </a:r>
                      <a:r>
                        <a:rPr lang="es-CO" sz="1200" b="0" i="0" u="none" strike="noStrike" cap="none" dirty="0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 contratos de concesiones portuarios entre 2011 y </a:t>
                      </a:r>
                      <a:r>
                        <a:rPr lang="es-CO" sz="1200" b="0" i="0" u="none" strike="noStrike" cap="none" dirty="0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</a:rPr>
                        <a:t>2021</a:t>
                      </a:r>
                      <a:r>
                        <a:rPr lang="es-CO" sz="1200" b="0" i="0" u="none" strike="noStrike" cap="none" dirty="0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, en los departamentos </a:t>
                      </a:r>
                      <a:r>
                        <a:rPr lang="es-CO" sz="1200" b="0" dirty="0">
                          <a:solidFill>
                            <a:schemeClr val="bg2"/>
                          </a:solidFill>
                        </a:rPr>
                        <a:t>de Bolívar, Guajira, Magdalena, Nariño y Valle del Cauca y en proceso se encuentran 12 iniciativas portuarias. La ANI espera mantener el ritmo de inversión en las zonas portuarias desarrolladas (Guajira, Santa Marta, Cartagena, Golfo de Morrosquillo y Buenaventura) Y de igual forma, se aporta en la consolidación de la actividad portuaria en las zonas de Urabá y Tumaco.</a:t>
                      </a: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1319503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algn="just"/>
                      <a:r>
                        <a:rPr lang="es-CO" sz="1200" b="0" i="0" u="none" strike="noStrike" cap="none" dirty="0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Al cierre de </a:t>
                      </a:r>
                      <a:r>
                        <a:rPr lang="es-CO" sz="1200" b="0" i="0" u="none" strike="noStrike" cap="none" dirty="0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</a:rPr>
                        <a:t>2020</a:t>
                      </a:r>
                      <a:r>
                        <a:rPr lang="es-CO" sz="1200" b="0" i="0" u="none" strike="noStrike" cap="none" dirty="0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 se movilizaron </a:t>
                      </a:r>
                      <a:r>
                        <a:rPr lang="es-CO" sz="1200" b="0" i="0" u="none" strike="noStrike" cap="none" dirty="0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</a:rPr>
                        <a:t>163,7</a:t>
                      </a:r>
                      <a:r>
                        <a:rPr lang="es-CO" sz="1200" b="0" i="0" u="none" strike="noStrike" cap="none" dirty="0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 millones de toneladas.</a:t>
                      </a: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750703"/>
                  </a:ext>
                </a:extLst>
              </a:tr>
              <a:tr h="392142">
                <a:tc>
                  <a:txBody>
                    <a:bodyPr/>
                    <a:lstStyle/>
                    <a:p>
                      <a:pPr lvl="0" algn="just">
                        <a:buNone/>
                      </a:pP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Apoyo al Ministerio de Transporte en la Resolución 20213040011685 del 19/03/2021, la cual permite la prestación de servicios a terceros no vinculados con la Sociedad concesionaria, facilitando así el ingreso de las cargas de proyecto necesarias para los Parques Eólicos a construir en el norte del país, en línea con las metas del Plan Nacional de Desarrollo vigente.</a:t>
                      </a:r>
                      <a:endParaRPr lang="es-ES" dirty="0">
                        <a:solidFill>
                          <a:schemeClr val="bg2">
                            <a:lumMod val="75000"/>
                          </a:schemeClr>
                        </a:solidFill>
                        <a:sym typeface="Arial"/>
                      </a:endParaRPr>
                    </a:p>
                  </a:txBody>
                  <a:tcPr>
                    <a:lnL w="12700">
                      <a:solidFill>
                        <a:srgbClr val="073763"/>
                      </a:solidFill>
                    </a:lnL>
                    <a:lnR w="12700">
                      <a:solidFill>
                        <a:srgbClr val="073763"/>
                      </a:solidFill>
                    </a:lnR>
                    <a:lnT w="12700">
                      <a:solidFill>
                        <a:srgbClr val="073763"/>
                      </a:solidFill>
                    </a:lnT>
                    <a:lnB w="12700">
                      <a:solidFill>
                        <a:srgbClr val="07376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7207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20696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5E88DDE9-3E1E-426C-9BDA-1F8696FA0A98}"/>
              </a:ext>
            </a:extLst>
          </p:cNvPr>
          <p:cNvSpPr txBox="1">
            <a:spLocks/>
          </p:cNvSpPr>
          <p:nvPr/>
        </p:nvSpPr>
        <p:spPr>
          <a:xfrm>
            <a:off x="3979101" y="159081"/>
            <a:ext cx="1249670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FFFFFF"/>
              </a:buClr>
              <a:buSzPts val="1400"/>
              <a:buFont typeface="Work Sans Light"/>
              <a:buNone/>
              <a:defRPr sz="2400" b="1">
                <a:solidFill>
                  <a:srgbClr val="0054BC"/>
                </a:solidFill>
                <a:latin typeface="+mn-lt"/>
                <a:ea typeface="Work Sans"/>
                <a:cs typeface="Work Sans"/>
              </a:defRPr>
            </a:lvl1pPr>
            <a:lvl2pPr marL="914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2pPr>
            <a:lvl3pPr marL="1371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3pPr>
            <a:lvl4pPr marL="1828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4pPr>
            <a:lvl5pPr marL="22860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5pPr>
            <a:lvl6pPr marL="27432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6pPr>
            <a:lvl7pPr marL="3200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7pPr>
            <a:lvl8pPr marL="3657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8pPr>
            <a:lvl9pPr marL="4114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9pPr>
          </a:lstStyle>
          <a:p>
            <a:r>
              <a:rPr lang="es-ES"/>
              <a:t>Logros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3E088BDF-2A66-48AF-AA69-495149FCAA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3993645"/>
              </p:ext>
            </p:extLst>
          </p:nvPr>
        </p:nvGraphicFramePr>
        <p:xfrm>
          <a:off x="574768" y="880110"/>
          <a:ext cx="7994464" cy="3070284"/>
        </p:xfrm>
        <a:graphic>
          <a:graphicData uri="http://schemas.openxmlformats.org/drawingml/2006/table">
            <a:tbl>
              <a:tblPr firstRow="1" bandRow="1"/>
              <a:tblGrid>
                <a:gridCol w="7994464">
                  <a:extLst>
                    <a:ext uri="{9D8B030D-6E8A-4147-A177-3AD203B41FA5}">
                      <a16:colId xmlns:a16="http://schemas.microsoft.com/office/drawing/2014/main" val="3841795752"/>
                    </a:ext>
                  </a:extLst>
                </a:gridCol>
              </a:tblGrid>
              <a:tr h="197993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es-CO" sz="1200" dirty="0">
                        <a:latin typeface="Work Sans"/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655337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lvl="0" indent="0" algn="just">
                        <a:buNone/>
                      </a:pP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Se aprobó Reglamento de Condiciones Técnicas de Operación, a través de Resolución No. 708 de 21 de mayo de 2021 a la </a:t>
                      </a: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Sociedad Portuaria Zona Franca ARGOS S.A.S.</a:t>
                      </a:r>
                      <a:endParaRPr lang="es-ES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538781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Se aprobó Reglamento de Condiciones Técnicas de Operación, a través de Resolución No. 704 de 12 de mayo de 2021 a la </a:t>
                      </a: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Sociedad Portuaria Terminales Marítimos del Pacífico S.A.</a:t>
                      </a:r>
                      <a:endParaRPr lang="es-ES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93666"/>
                  </a:ext>
                </a:extLst>
              </a:tr>
              <a:tr h="48572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Terminación Plan de Inversión de la </a:t>
                      </a: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Sociedad CENIT Transporte y Logística de Hidrocarburos S.A.S. - Terminal Coveñas </a:t>
                      </a:r>
                      <a:b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</a:br>
                      <a:endParaRPr lang="es-CO" sz="1200" b="0" i="0" u="none" strike="noStrike" noProof="0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1319503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algn="just"/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Terminación Plan </a:t>
                      </a: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sym typeface="Arial"/>
                        </a:rPr>
                        <a:t>de </a:t>
                      </a: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Inversión de la Sociedad Portuaria </a:t>
                      </a: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Compañía de Puertos Asociados Compas Tolú</a:t>
                      </a:r>
                      <a:endParaRPr lang="es-CO" sz="1200" b="0" i="0" u="none" strike="noStrike" cap="none" dirty="0">
                        <a:solidFill>
                          <a:schemeClr val="bg2">
                            <a:lumMod val="75000"/>
                          </a:schemeClr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750703"/>
                  </a:ext>
                </a:extLst>
              </a:tr>
              <a:tr h="392142">
                <a:tc>
                  <a:txBody>
                    <a:bodyPr/>
                    <a:lstStyle/>
                    <a:p>
                      <a:pPr lvl="0" algn="just">
                        <a:buNone/>
                      </a:pP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Terminación del Plan de Inversión - Construcción Muelle y Bita de amarre de la </a:t>
                      </a: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Sociedad Portuaria Del Dique</a:t>
                      </a:r>
                      <a:endParaRPr lang="es-ES" dirty="0">
                        <a:solidFill>
                          <a:schemeClr val="bg2">
                            <a:lumMod val="75000"/>
                          </a:schemeClr>
                        </a:solidFill>
                        <a:sym typeface="Arial"/>
                      </a:endParaRPr>
                    </a:p>
                  </a:txBody>
                  <a:tcPr>
                    <a:lnL w="12700">
                      <a:solidFill>
                        <a:srgbClr val="073763"/>
                      </a:solidFill>
                    </a:lnL>
                    <a:lnR w="12700">
                      <a:solidFill>
                        <a:srgbClr val="073763"/>
                      </a:solidFill>
                    </a:lnR>
                    <a:lnT w="12700">
                      <a:solidFill>
                        <a:srgbClr val="073763"/>
                      </a:solidFill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720716"/>
                  </a:ext>
                </a:extLst>
              </a:tr>
              <a:tr h="392142">
                <a:tc>
                  <a:txBody>
                    <a:bodyPr/>
                    <a:lstStyle/>
                    <a:p>
                      <a:pPr lvl="0" algn="just">
                        <a:buNone/>
                      </a:pP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Incorporación de una mayor capacidad de almacenamiento de 1200 toneladas en graneles líquidos y una mayor inversión en infraestructura de vocación portuaria de la </a:t>
                      </a: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Sociedad Portuaria Tumaco </a:t>
                      </a:r>
                      <a:r>
                        <a:rPr lang="es-CO" sz="1200" b="0" i="0" u="none" strike="noStrike" cap="none" noProof="0" dirty="0" err="1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Pacific</a:t>
                      </a: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 Port</a:t>
                      </a:r>
                      <a:endParaRPr lang="es-ES" dirty="0">
                        <a:solidFill>
                          <a:schemeClr val="bg2">
                            <a:lumMod val="75000"/>
                          </a:schemeClr>
                        </a:solidFill>
                        <a:sym typeface="Arial"/>
                      </a:endParaRPr>
                    </a:p>
                  </a:txBody>
                  <a:tcPr>
                    <a:lnL w="12700">
                      <a:solidFill>
                        <a:srgbClr val="073763"/>
                      </a:solidFill>
                    </a:lnL>
                    <a:lnR w="12700">
                      <a:solidFill>
                        <a:srgbClr val="073763"/>
                      </a:solidFill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84151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0528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5E88DDE9-3E1E-426C-9BDA-1F8696FA0A98}"/>
              </a:ext>
            </a:extLst>
          </p:cNvPr>
          <p:cNvSpPr txBox="1">
            <a:spLocks/>
          </p:cNvSpPr>
          <p:nvPr/>
        </p:nvSpPr>
        <p:spPr>
          <a:xfrm>
            <a:off x="3979101" y="159081"/>
            <a:ext cx="1249670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FFFFFF"/>
              </a:buClr>
              <a:buSzPts val="1400"/>
              <a:buFont typeface="Work Sans Light"/>
              <a:buNone/>
              <a:defRPr sz="2400" b="1">
                <a:solidFill>
                  <a:srgbClr val="0054BC"/>
                </a:solidFill>
                <a:latin typeface="+mn-lt"/>
                <a:ea typeface="Work Sans"/>
                <a:cs typeface="Work Sans"/>
              </a:defRPr>
            </a:lvl1pPr>
            <a:lvl2pPr marL="914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2pPr>
            <a:lvl3pPr marL="1371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3pPr>
            <a:lvl4pPr marL="1828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4pPr>
            <a:lvl5pPr marL="22860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5pPr>
            <a:lvl6pPr marL="27432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6pPr>
            <a:lvl7pPr marL="3200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7pPr>
            <a:lvl8pPr marL="3657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8pPr>
            <a:lvl9pPr marL="4114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9pPr>
          </a:lstStyle>
          <a:p>
            <a:r>
              <a:rPr lang="es-ES"/>
              <a:t>Logros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3E088BDF-2A66-48AF-AA69-495149FCAA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1763520"/>
              </p:ext>
            </p:extLst>
          </p:nvPr>
        </p:nvGraphicFramePr>
        <p:xfrm>
          <a:off x="585138" y="745533"/>
          <a:ext cx="7994464" cy="3373131"/>
        </p:xfrm>
        <a:graphic>
          <a:graphicData uri="http://schemas.openxmlformats.org/drawingml/2006/table">
            <a:tbl>
              <a:tblPr firstRow="1" bandRow="1"/>
              <a:tblGrid>
                <a:gridCol w="7994464">
                  <a:extLst>
                    <a:ext uri="{9D8B030D-6E8A-4147-A177-3AD203B41FA5}">
                      <a16:colId xmlns:a16="http://schemas.microsoft.com/office/drawing/2014/main" val="3841795752"/>
                    </a:ext>
                  </a:extLst>
                </a:gridCol>
              </a:tblGrid>
              <a:tr h="197993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es-CO" sz="1200" dirty="0">
                        <a:latin typeface="Work Sans"/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655337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lvl="0" indent="0" algn="just">
                        <a:buNone/>
                      </a:pP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Ejecución de Inversiones en  la </a:t>
                      </a: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Sociedad Portuaria Regional de Santa Marta </a:t>
                      </a:r>
                      <a:endParaRPr lang="es-ES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538781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Ejecución de Inversiones en la </a:t>
                      </a: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Sociedad Portuaria Regional Buenaventura</a:t>
                      </a:r>
                      <a:endParaRPr lang="es-ES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93666"/>
                  </a:ext>
                </a:extLst>
              </a:tr>
              <a:tr h="485727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Suscripción Acta de Inicio de la </a:t>
                      </a: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Sociedad Portuaria Bita RM S.A</a:t>
                      </a:r>
                      <a:endParaRPr lang="es-ES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1319503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Suscripción del acta No.001 de 2021 - del otrosí No.13 - Ejecución total del plan de inversiones de la </a:t>
                      </a:r>
                      <a:r>
                        <a:rPr lang="es-CO" sz="1200" b="0" i="0" u="none" strike="noStrik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Sociedad Portuaria Compas Cartagena</a:t>
                      </a:r>
                      <a:endParaRPr lang="es-ES" sz="12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750703"/>
                  </a:ext>
                </a:extLst>
              </a:tr>
              <a:tr h="392142">
                <a:tc>
                  <a:txBody>
                    <a:bodyPr/>
                    <a:lstStyle/>
                    <a:p>
                      <a:pPr lvl="0" algn="just">
                        <a:buNone/>
                      </a:pP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Instalación de una nueva Monoboya (TLU-PLEM) en la Sociedad Portuaria OCENSA mejorando así la eficiencia del puerto en exportación de hidrocarburos</a:t>
                      </a:r>
                      <a:endParaRPr lang="es-CO" sz="1200" b="0" i="0" u="none" strike="noStrike" cap="none" noProof="0" dirty="0">
                        <a:solidFill>
                          <a:schemeClr val="bg2">
                            <a:lumMod val="75000"/>
                          </a:schemeClr>
                        </a:solidFill>
                        <a:sym typeface="Arial"/>
                      </a:endParaRPr>
                    </a:p>
                  </a:txBody>
                  <a:tcPr>
                    <a:lnL w="12700">
                      <a:solidFill>
                        <a:srgbClr val="073763"/>
                      </a:solidFill>
                    </a:lnL>
                    <a:lnR w="12700">
                      <a:solidFill>
                        <a:srgbClr val="073763"/>
                      </a:solidFill>
                    </a:lnR>
                    <a:lnT w="12700">
                      <a:solidFill>
                        <a:srgbClr val="073763"/>
                      </a:solidFill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720716"/>
                  </a:ext>
                </a:extLst>
              </a:tr>
              <a:tr h="392142">
                <a:tc>
                  <a:txBody>
                    <a:bodyPr/>
                    <a:lstStyle/>
                    <a:p>
                      <a:pPr lvl="0" algn="just">
                        <a:buNone/>
                      </a:pP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Suscripción del Otrosí No. 1 de 2021 – Aumento del plan de inversiones en la </a:t>
                      </a: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Sociedad Portuaria GRUPO PORTUARIO S.A. - LOTE A1-A2 </a:t>
                      </a:r>
                      <a:endParaRPr lang="es-ES" dirty="0">
                        <a:solidFill>
                          <a:schemeClr val="bg2">
                            <a:lumMod val="75000"/>
                          </a:schemeClr>
                        </a:solidFill>
                        <a:sym typeface="Arial"/>
                      </a:endParaRPr>
                    </a:p>
                  </a:txBody>
                  <a:tcPr>
                    <a:lnL w="12700">
                      <a:solidFill>
                        <a:srgbClr val="073763"/>
                      </a:solidFill>
                    </a:lnL>
                    <a:lnR w="12700">
                      <a:solidFill>
                        <a:srgbClr val="073763"/>
                      </a:solidFill>
                    </a:lnR>
                    <a:lnT w="12700">
                      <a:solidFill>
                        <a:srgbClr val="073763"/>
                      </a:solidFill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8415179"/>
                  </a:ext>
                </a:extLst>
              </a:tr>
              <a:tr h="392142">
                <a:tc>
                  <a:txBody>
                    <a:bodyPr/>
                    <a:lstStyle/>
                    <a:p>
                      <a:pPr lvl="0" algn="just">
                        <a:buNone/>
                      </a:pP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Suscripción del Otrosí No. 2 de 2021 - Aumento del plan de inversiones en la </a:t>
                      </a:r>
                      <a:r>
                        <a:rPr lang="es-CO" sz="1200" b="0" i="0" u="none" strike="noStrike" cap="none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Arial"/>
                        </a:rPr>
                        <a:t>Sociedad Portuaria Operadora Internacional</a:t>
                      </a:r>
                      <a:endParaRPr lang="es-ES" dirty="0">
                        <a:solidFill>
                          <a:schemeClr val="bg2">
                            <a:lumMod val="75000"/>
                          </a:schemeClr>
                        </a:solidFill>
                        <a:sym typeface="Arial"/>
                      </a:endParaRPr>
                    </a:p>
                  </a:txBody>
                  <a:tcPr>
                    <a:lnL w="12700">
                      <a:solidFill>
                        <a:srgbClr val="073763"/>
                      </a:solidFill>
                    </a:lnL>
                    <a:lnR w="12700">
                      <a:solidFill>
                        <a:srgbClr val="073763"/>
                      </a:solidFill>
                    </a:lnR>
                    <a:lnT w="12700">
                      <a:solidFill>
                        <a:srgbClr val="073763"/>
                      </a:solidFill>
                    </a:lnT>
                    <a:lnB w="12700">
                      <a:solidFill>
                        <a:srgbClr val="07376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939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37627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5E88DDE9-3E1E-426C-9BDA-1F8696FA0A98}"/>
              </a:ext>
            </a:extLst>
          </p:cNvPr>
          <p:cNvSpPr txBox="1">
            <a:spLocks/>
          </p:cNvSpPr>
          <p:nvPr/>
        </p:nvSpPr>
        <p:spPr>
          <a:xfrm>
            <a:off x="3979101" y="159081"/>
            <a:ext cx="1249670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FFFFFF"/>
              </a:buClr>
              <a:buSzPts val="1400"/>
              <a:buFont typeface="Work Sans Light"/>
              <a:buNone/>
              <a:defRPr sz="2400" b="1">
                <a:solidFill>
                  <a:srgbClr val="0054BC"/>
                </a:solidFill>
                <a:latin typeface="+mn-lt"/>
                <a:ea typeface="Work Sans"/>
                <a:cs typeface="Work Sans"/>
              </a:defRPr>
            </a:lvl1pPr>
            <a:lvl2pPr marL="914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2pPr>
            <a:lvl3pPr marL="1371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3pPr>
            <a:lvl4pPr marL="1828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4pPr>
            <a:lvl5pPr marL="22860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5pPr>
            <a:lvl6pPr marL="27432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6pPr>
            <a:lvl7pPr marL="3200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7pPr>
            <a:lvl8pPr marL="3657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8pPr>
            <a:lvl9pPr marL="4114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9pPr>
          </a:lstStyle>
          <a:p>
            <a:r>
              <a:rPr lang="es-ES"/>
              <a:t>Logros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3E088BDF-2A66-48AF-AA69-495149FCAA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2712903"/>
              </p:ext>
            </p:extLst>
          </p:nvPr>
        </p:nvGraphicFramePr>
        <p:xfrm>
          <a:off x="537761" y="1150289"/>
          <a:ext cx="8132350" cy="2651760"/>
        </p:xfrm>
        <a:graphic>
          <a:graphicData uri="http://schemas.openxmlformats.org/drawingml/2006/table">
            <a:tbl>
              <a:tblPr firstRow="1" bandRow="1"/>
              <a:tblGrid>
                <a:gridCol w="8132350">
                  <a:extLst>
                    <a:ext uri="{9D8B030D-6E8A-4147-A177-3AD203B41FA5}">
                      <a16:colId xmlns:a16="http://schemas.microsoft.com/office/drawing/2014/main" val="3841795752"/>
                    </a:ext>
                  </a:extLst>
                </a:gridCol>
              </a:tblGrid>
              <a:tr h="197993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algn="ctr"/>
                      <a:endParaRPr lang="es-CO" sz="1200" dirty="0">
                        <a:latin typeface="Work Sans"/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6655337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indent="0" algn="just"/>
                      <a:r>
                        <a:rPr lang="es-CO" sz="1200" b="0" i="0" u="none" strike="noStrike" cap="none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En trabajo conjunto con las diferentes entidades del sector se desarrolló la alternativa enmarcada en la </a:t>
                      </a:r>
                      <a:r>
                        <a:rPr lang="es-ES" sz="1200" b="0" i="0" u="none" strike="noStrike" cap="none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Ley</a:t>
                      </a:r>
                      <a:r>
                        <a:rPr lang="es-ES" sz="1200" b="0" i="0" u="none" strike="noStrike" cap="none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</a:rPr>
                        <a:t> </a:t>
                      </a:r>
                      <a:r>
                        <a:rPr lang="es-ES" sz="1200" b="0" i="0" u="none" strike="noStrike" cap="none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 de Presupuesto General de la Nación, en su </a:t>
                      </a:r>
                      <a:r>
                        <a:rPr lang="es-CO" sz="1200" b="0" i="0" u="none" strike="noStrike" cap="none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</a:rPr>
                        <a:t>artículo </a:t>
                      </a:r>
                      <a:r>
                        <a:rPr lang="es-CO" sz="1200" b="0" i="0" u="none" strike="noStrike" cap="none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140, la cual incorpora la alternativa para movilizar la carga relativa a la generación de energía eólica por los diferentes terminales portuarios del país.</a:t>
                      </a:r>
                      <a:r>
                        <a:rPr lang="es-CO" sz="1200" b="0" i="0" u="none" strike="noStrike" cap="none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</a:rPr>
                        <a:t> </a:t>
                      </a:r>
                      <a:endParaRPr lang="es-CO" sz="1200" b="0" i="0" u="none" strike="noStrike" cap="none">
                        <a:solidFill>
                          <a:schemeClr val="bg2"/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2538781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CO" sz="1200" b="0" i="0" u="none" strike="noStrike" cap="none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Seguimiento a la implementación de protocolos de bioseguridad para dar continuidad en la operación de los terminales portuarios, en medio de la emergencia declarada por el covid-19. De esta manera se han garantizado las condiciones portuarias para el abastecimiento de bienes de primera necesidad.</a:t>
                      </a: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93666"/>
                  </a:ext>
                </a:extLst>
              </a:tr>
              <a:tr h="392142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CO" sz="1200" b="0" i="0" u="none" strike="noStrike" cap="none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Seguimiento a </a:t>
                      </a:r>
                      <a:r>
                        <a:rPr lang="es-ES" sz="1200" b="0" i="0" u="none" strike="noStrike" cap="none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acciones y/o operaciones de carga destinadas a garantizar el abastecimiento de bienes de primera necesidad, independientemente de la carga autorizada en los puertos públicos y privados. (Decreto 482 de 2020), producto de </a:t>
                      </a:r>
                      <a:r>
                        <a:rPr lang="es-CO" sz="1200" b="0" i="0" u="none" strike="noStrike" cap="none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la emergencia declarada por el covid-19.</a:t>
                      </a:r>
                      <a:endParaRPr lang="es-ES" sz="1200" b="0" i="0" u="none" strike="noStrike" cap="none">
                        <a:solidFill>
                          <a:schemeClr val="bg2"/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1319503"/>
                  </a:ext>
                </a:extLst>
              </a:tr>
              <a:tr h="392142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ES" sz="1200" b="0" i="0" u="none" strike="noStrike" cap="none" dirty="0">
                          <a:solidFill>
                            <a:schemeClr val="bg2"/>
                          </a:solidFill>
                          <a:latin typeface="Arial"/>
                          <a:ea typeface="+mn-ea"/>
                          <a:cs typeface="+mn-cs"/>
                          <a:sym typeface="Arial"/>
                        </a:rPr>
                        <a:t>Ampliación de capacidad portuaria para el manejo de diferente tipo de carga a través de inversiones adicionales, enmarcadas en el artículo 102 del Plan Nacional de Desarrollo (2018-2022).</a:t>
                      </a:r>
                      <a:endParaRPr lang="es-CO" sz="1200" b="0" i="0" u="none" strike="noStrike" cap="none" dirty="0">
                        <a:solidFill>
                          <a:schemeClr val="bg2"/>
                        </a:solidFill>
                        <a:latin typeface="Arial"/>
                        <a:ea typeface="+mn-ea"/>
                        <a:cs typeface="+mn-cs"/>
                        <a:sym typeface="Arial"/>
                      </a:endParaRPr>
                    </a:p>
                  </a:txBody>
                  <a:tcPr>
                    <a:lnL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737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A54A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7507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92395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idencia de Colomba">
  <a:themeElements>
    <a:clrScheme name="Azul cálido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CE193CB1965C7498EFCB948D95C5F57" ma:contentTypeVersion="13" ma:contentTypeDescription="Crear nuevo documento." ma:contentTypeScope="" ma:versionID="5b7806ab8b26b6989378f890dc03cd4d">
  <xsd:schema xmlns:xsd="http://www.w3.org/2001/XMLSchema" xmlns:xs="http://www.w3.org/2001/XMLSchema" xmlns:p="http://schemas.microsoft.com/office/2006/metadata/properties" xmlns:ns3="10e5e2ac-54e3-43bf-9fda-dee986dfcc62" xmlns:ns4="3fab6c54-f89e-47d8-97d7-25a03088ae59" targetNamespace="http://schemas.microsoft.com/office/2006/metadata/properties" ma:root="true" ma:fieldsID="da6c6e2651f752eda6890bd85ce2b31e" ns3:_="" ns4:_="">
    <xsd:import namespace="10e5e2ac-54e3-43bf-9fda-dee986dfcc62"/>
    <xsd:import namespace="3fab6c54-f89e-47d8-97d7-25a03088ae5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e5e2ac-54e3-43bf-9fda-dee986dfcc6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Última vez que se compartió por usuario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Última vez que se compartió por hora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ab6c54-f89e-47d8-97d7-25a03088ae5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D72F3B6-3C47-42B7-BAF3-6DEFD1A03440}">
  <ds:schemaRefs>
    <ds:schemaRef ds:uri="10e5e2ac-54e3-43bf-9fda-dee986dfcc62"/>
    <ds:schemaRef ds:uri="3fab6c54-f89e-47d8-97d7-25a03088ae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6917496-7C8C-4977-968B-8CE939D308E4}">
  <ds:schemaRefs>
    <ds:schemaRef ds:uri="10e5e2ac-54e3-43bf-9fda-dee986dfcc62"/>
    <ds:schemaRef ds:uri="3fab6c54-f89e-47d8-97d7-25a03088ae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356728C-0FA9-407D-9601-C6E16748699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963</Words>
  <Application>Microsoft Office PowerPoint</Application>
  <PresentationFormat>Presentación en pantalla (16:9)</PresentationFormat>
  <Paragraphs>84</Paragraphs>
  <Slides>11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18" baseType="lpstr">
      <vt:lpstr>Arial</vt:lpstr>
      <vt:lpstr>Calibri</vt:lpstr>
      <vt:lpstr>Work Sans</vt:lpstr>
      <vt:lpstr>Work Sans Light</vt:lpstr>
      <vt:lpstr>Work Sans SemiBold</vt:lpstr>
      <vt:lpstr>Presidencia de Colomba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esus Alberto Florez Ortiz</dc:creator>
  <cp:lastModifiedBy>Ricardo Aguilera Wilches</cp:lastModifiedBy>
  <cp:revision>67</cp:revision>
  <dcterms:modified xsi:type="dcterms:W3CDTF">2021-08-24T14:3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E193CB1965C7498EFCB948D95C5F57</vt:lpwstr>
  </property>
</Properties>
</file>